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69713" r:id="rId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46150" y="1597818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1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1967" y="1827211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6D132A99-2333-414D-B1A9-2C71920F3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B3259707-C974-4153-9D52-17C125E50D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1864" y="1827211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A90520A-442B-433C-B38A-D016E429D07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946150" y="3031472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2</a:t>
            </a:r>
          </a:p>
        </p:txBody>
      </p:sp>
      <p:sp>
        <p:nvSpPr>
          <p:cNvPr id="17" name="Espace réservé du texte 10">
            <a:extLst>
              <a:ext uri="{FF2B5EF4-FFF2-40B4-BE49-F238E27FC236}">
                <a16:creationId xmlns:a16="http://schemas.microsoft.com/office/drawing/2014/main" id="{32C64283-749F-4B06-97AA-2867AE35AC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781967" y="3260865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29B5A717-6A4A-4E13-BCA8-BF401EFF96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41864" y="3260865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B64C846-65CB-45B4-AD7B-E24D66B7A2A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46150" y="4453078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3</a:t>
            </a:r>
          </a:p>
        </p:txBody>
      </p:sp>
      <p:sp>
        <p:nvSpPr>
          <p:cNvPr id="20" name="Espace réservé du texte 10">
            <a:extLst>
              <a:ext uri="{FF2B5EF4-FFF2-40B4-BE49-F238E27FC236}">
                <a16:creationId xmlns:a16="http://schemas.microsoft.com/office/drawing/2014/main" id="{8B9AC61C-5FEB-4953-BDBC-E50123158E9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781967" y="4682471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20B660EC-C247-41D8-A692-E247F16A26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41864" y="4682471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D077BD2B-3936-47E6-92BC-87FD9D87DEEB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071552" y="1597818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4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178CFD74-2A97-4A3D-A6AB-8860EF9C72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07369" y="1827211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10">
            <a:extLst>
              <a:ext uri="{FF2B5EF4-FFF2-40B4-BE49-F238E27FC236}">
                <a16:creationId xmlns:a16="http://schemas.microsoft.com/office/drawing/2014/main" id="{5B24D0F5-A5C8-45C4-B6AA-3E37DD1FB5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367266" y="1827211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5948D639-1AA3-4202-A23F-29331C454E8E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071552" y="3031472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5</a:t>
            </a:r>
          </a:p>
        </p:txBody>
      </p:sp>
      <p:sp>
        <p:nvSpPr>
          <p:cNvPr id="26" name="Espace réservé du texte 10">
            <a:extLst>
              <a:ext uri="{FF2B5EF4-FFF2-40B4-BE49-F238E27FC236}">
                <a16:creationId xmlns:a16="http://schemas.microsoft.com/office/drawing/2014/main" id="{25AC7BDD-9AEC-411C-955D-C79E29A8203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07369" y="3260865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7" name="Espace réservé du texte 10">
            <a:extLst>
              <a:ext uri="{FF2B5EF4-FFF2-40B4-BE49-F238E27FC236}">
                <a16:creationId xmlns:a16="http://schemas.microsoft.com/office/drawing/2014/main" id="{E8CDD7C6-58D5-40EF-B715-9B6218BB9E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67266" y="3260865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EC1B0C49-A3E3-4D54-8E3A-4556519452C7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071552" y="4453078"/>
            <a:ext cx="1008000" cy="720000"/>
          </a:xfrm>
        </p:spPr>
        <p:txBody>
          <a:bodyPr anchor="ctr"/>
          <a:lstStyle>
            <a:lvl1pPr marL="0" indent="0">
              <a:buNone/>
              <a:defRPr sz="4700" b="1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dirty="0"/>
              <a:t>06</a:t>
            </a:r>
          </a:p>
        </p:txBody>
      </p:sp>
      <p:sp>
        <p:nvSpPr>
          <p:cNvPr id="29" name="Espace réservé du texte 10">
            <a:extLst>
              <a:ext uri="{FF2B5EF4-FFF2-40B4-BE49-F238E27FC236}">
                <a16:creationId xmlns:a16="http://schemas.microsoft.com/office/drawing/2014/main" id="{1281430C-2DD5-40B1-BF7D-918FBC68571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07369" y="4682471"/>
            <a:ext cx="3780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2FDB1B62-984C-416E-B741-0078211E47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367266" y="4682471"/>
            <a:ext cx="468000" cy="1260000"/>
          </a:xfrm>
        </p:spPr>
        <p:txBody>
          <a:bodyPr/>
          <a:lstStyle>
            <a:lvl1pPr>
              <a:defRPr sz="1500" b="1" i="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870200" algn="r"/>
              </a:tabLst>
              <a:defRPr sz="1300" b="1"/>
            </a:lvl2pPr>
          </a:lstStyle>
          <a:p>
            <a:pPr lvl="0"/>
            <a:r>
              <a:rPr lang="fr-FR" dirty="0"/>
              <a:t>NN</a:t>
            </a:r>
          </a:p>
          <a:p>
            <a:pPr lvl="1"/>
            <a:r>
              <a:rPr lang="fr-FR" dirty="0"/>
              <a:t>NN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146D50F-EF6C-40C5-9271-4B4980F1660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654D0DC1-18EB-4FD0-A101-316132C12B53}" type="datetime1">
              <a:rPr lang="fr-FR" smtClean="0"/>
              <a:t>15/04/2025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9299D34-CC1A-489A-8678-7E9C77034B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fr-FR"/>
              <a:t>Date et titre de votre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844A163-E808-4918-B1EF-540238FBC16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7226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1543" y="1040609"/>
            <a:ext cx="10657174" cy="360000"/>
          </a:xfrm>
        </p:spPr>
        <p:txBody>
          <a:bodyPr anchor="t"/>
          <a:lstStyle>
            <a:lvl1pPr marL="0" indent="0">
              <a:buNone/>
              <a:defRPr sz="18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9614D-91DA-45D8-B0D1-E68A238717B4}" type="datetime1">
              <a:rPr lang="fr-FR" smtClean="0"/>
              <a:t>15/04/2025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ate et titre de votre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2400" y="1929771"/>
            <a:ext cx="5040000" cy="39600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spcBef>
                <a:spcPts val="300"/>
              </a:spcBef>
              <a:defRPr sz="1400"/>
            </a:lvl2pPr>
            <a:lvl3pPr>
              <a:lnSpc>
                <a:spcPct val="120000"/>
              </a:lnSpc>
              <a:spcBef>
                <a:spcPts val="1300"/>
              </a:spcBef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graphique 4">
            <a:extLst>
              <a:ext uri="{FF2B5EF4-FFF2-40B4-BE49-F238E27FC236}">
                <a16:creationId xmlns:a16="http://schemas.microsoft.com/office/drawing/2014/main" id="{33C399CE-42B8-4FD4-90D5-743F06A4639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548718" y="1420346"/>
            <a:ext cx="5040000" cy="446942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1400" b="0" i="0"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78AF46-571A-4351-86C9-7C16B9D22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543" y="570228"/>
            <a:ext cx="10657173" cy="468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09570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1543" y="1040609"/>
            <a:ext cx="10657174" cy="360000"/>
          </a:xfrm>
        </p:spPr>
        <p:txBody>
          <a:bodyPr anchor="t"/>
          <a:lstStyle>
            <a:lvl1pPr marL="0" indent="0">
              <a:buNone/>
              <a:defRPr sz="18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9614D-91DA-45D8-B0D1-E68A238717B4}" type="datetime1">
              <a:rPr lang="fr-FR" smtClean="0"/>
              <a:t>15/04/2025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ate et titre de votre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78AF46-571A-4351-86C9-7C16B9D22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543" y="570228"/>
            <a:ext cx="10657173" cy="468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Espace réservé du tableau 5">
            <a:extLst>
              <a:ext uri="{FF2B5EF4-FFF2-40B4-BE49-F238E27FC236}">
                <a16:creationId xmlns:a16="http://schemas.microsoft.com/office/drawing/2014/main" id="{A7475CA4-334C-46A6-8AB6-D58361C1A5A3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047750" y="1677822"/>
            <a:ext cx="6811200" cy="40324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1400" i="0">
                <a:solidFill>
                  <a:schemeClr val="tx2"/>
                </a:solidFill>
              </a:defRPr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id="{2C4DA9C6-BB95-433D-8AA6-6D6EA887AF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67009" y="2719792"/>
            <a:ext cx="3780000" cy="3060000"/>
          </a:xfrm>
        </p:spPr>
        <p:txBody>
          <a:bodyPr anchor="b"/>
          <a:lstStyle>
            <a:lvl1pPr>
              <a:lnSpc>
                <a:spcPct val="130000"/>
              </a:lnSpc>
              <a:defRPr sz="1200" b="1" i="0"/>
            </a:lvl1pPr>
            <a:lvl2pPr>
              <a:lnSpc>
                <a:spcPct val="130000"/>
              </a:lnSpc>
              <a:defRPr sz="1200" i="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463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1542" y="1040609"/>
            <a:ext cx="10815466" cy="360000"/>
          </a:xfrm>
        </p:spPr>
        <p:txBody>
          <a:bodyPr anchor="t"/>
          <a:lstStyle>
            <a:lvl1pPr marL="0" indent="0">
              <a:buNone/>
              <a:defRPr sz="18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C93F7-599D-4080-945E-99428CE1D562}" type="datetime1">
              <a:rPr lang="fr-FR" smtClean="0"/>
              <a:t>15/04/2025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ate et titre de votre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8E682C0-94BB-467C-A5AD-7B086F8D1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67009" y="4699792"/>
            <a:ext cx="3780000" cy="1080000"/>
          </a:xfrm>
        </p:spPr>
        <p:txBody>
          <a:bodyPr anchor="b"/>
          <a:lstStyle>
            <a:lvl1pPr>
              <a:lnSpc>
                <a:spcPct val="130000"/>
              </a:lnSpc>
              <a:defRPr sz="1200" b="1" i="0"/>
            </a:lvl1pPr>
            <a:lvl2pPr>
              <a:lnSpc>
                <a:spcPct val="130000"/>
              </a:lnSpc>
              <a:defRPr sz="1200" i="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0DE2A1B-42EC-44EA-9D29-6D212371CCAE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1037908" y="1673225"/>
            <a:ext cx="6513512" cy="4026535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 i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7A13A3F-87FA-4C03-B1F2-CF8821B23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544" y="570228"/>
            <a:ext cx="10815464" cy="4680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texte 10">
            <a:extLst>
              <a:ext uri="{FF2B5EF4-FFF2-40B4-BE49-F238E27FC236}">
                <a16:creationId xmlns:a16="http://schemas.microsoft.com/office/drawing/2014/main" id="{256FB588-56DC-4143-88EE-134EB49221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7009" y="1578980"/>
            <a:ext cx="3779999" cy="27000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spcBef>
                <a:spcPts val="300"/>
              </a:spcBef>
              <a:defRPr sz="1400"/>
            </a:lvl2pPr>
            <a:lvl3pPr>
              <a:lnSpc>
                <a:spcPct val="120000"/>
              </a:lnSpc>
              <a:spcBef>
                <a:spcPts val="1300"/>
              </a:spcBef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6897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en exergue avec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2585BDCD-83C4-4E2C-83C4-94C92955FD73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l">
              <a:buNone/>
              <a:defRPr sz="1400" i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Photo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F8398A2-1BB0-4126-99AA-BE7259021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D31DC0-154B-4EE2-A61F-27EAFCE2216B}" type="datetime1">
              <a:rPr lang="fr-FR" smtClean="0"/>
              <a:t>15/04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9F9D431-C360-4856-A475-557050A13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Date et titre de votre présent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6C15B0-333C-4C06-9AC9-8D12F3756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A50C95A-056C-429F-A1B6-8B1CDC140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400" y="2751138"/>
            <a:ext cx="8640000" cy="2880000"/>
          </a:xfrm>
        </p:spPr>
        <p:txBody>
          <a:bodyPr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88427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2">
            <a:extLst>
              <a:ext uri="{FF2B5EF4-FFF2-40B4-BE49-F238E27FC236}">
                <a16:creationId xmlns:a16="http://schemas.microsoft.com/office/drawing/2014/main" id="{7532A651-F0F4-48C2-B997-B125AE264F79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l">
              <a:buNone/>
              <a:defRPr sz="1400" i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/>
              <a:t>Photo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F8398A2-1BB0-4126-99AA-BE7259021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EA8CBA8-FB39-47F8-8102-A189F8BCDA26}" type="datetime1">
              <a:rPr lang="fr-FR" smtClean="0"/>
              <a:t>15/04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9F9D431-C360-4856-A475-557050A13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Date et titre de votre présent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6C15B0-333C-4C06-9AC9-8D12F3756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A50C95A-056C-429F-A1B6-8B1CDC140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08155" y="4609949"/>
            <a:ext cx="2520000" cy="1440000"/>
          </a:xfrm>
        </p:spPr>
        <p:txBody>
          <a:bodyPr/>
          <a:lstStyle>
            <a:lvl1pPr>
              <a:lnSpc>
                <a:spcPct val="85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9514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exte en exergue sur fond bleu">
    <p:bg>
      <p:bgPr>
        <a:solidFill>
          <a:srgbClr val="0057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F8398A2-1BB0-4126-99AA-BE7259021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2EB78A-D47E-49AC-8845-EC90ABB06D18}" type="datetime1">
              <a:rPr lang="fr-FR" smtClean="0"/>
              <a:t>15/04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9F9D431-C360-4856-A475-557050A13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Date et titre de votre présent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6C15B0-333C-4C06-9AC9-8D12F3756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EDE9198-B720-4706-8F02-CACA50E166A5}"/>
              </a:ext>
            </a:extLst>
          </p:cNvPr>
          <p:cNvSpPr txBox="1"/>
          <p:nvPr userDrawn="1"/>
        </p:nvSpPr>
        <p:spPr>
          <a:xfrm>
            <a:off x="947738" y="6370638"/>
            <a:ext cx="15504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>
                <a:solidFill>
                  <a:schemeClr val="bg1"/>
                </a:solidFill>
              </a:rPr>
              <a:t>Caisse des Dépôt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A50C95A-056C-429F-A1B6-8B1CDC140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7277" y="2549041"/>
            <a:ext cx="8640000" cy="2880000"/>
          </a:xfrm>
        </p:spPr>
        <p:txBody>
          <a:bodyPr/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E0A3AB4C-AD58-4D8F-BC6F-D1A801697936}"/>
              </a:ext>
            </a:extLst>
          </p:cNvPr>
          <p:cNvCxnSpPr/>
          <p:nvPr userDrawn="1"/>
        </p:nvCxnSpPr>
        <p:spPr>
          <a:xfrm>
            <a:off x="1047750" y="6205540"/>
            <a:ext cx="1009800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890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80B3F5B-B768-49C6-849E-ECA40AC90B59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A0B3D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0E911085-A09B-4DAE-A16B-D1AC4FBA8589}"/>
              </a:ext>
            </a:extLst>
          </p:cNvPr>
          <p:cNvSpPr/>
          <p:nvPr userDrawn="1"/>
        </p:nvSpPr>
        <p:spPr bwMode="auto">
          <a:xfrm>
            <a:off x="807396" y="758757"/>
            <a:ext cx="11147898" cy="6108971"/>
          </a:xfrm>
          <a:custGeom>
            <a:avLst/>
            <a:gdLst>
              <a:gd name="connsiteX0" fmla="*/ 1079770 w 11147898"/>
              <a:gd name="connsiteY0" fmla="*/ 6099243 h 6108971"/>
              <a:gd name="connsiteX1" fmla="*/ 0 w 11147898"/>
              <a:gd name="connsiteY1" fmla="*/ 5058383 h 6108971"/>
              <a:gd name="connsiteX2" fmla="*/ 0 w 11147898"/>
              <a:gd name="connsiteY2" fmla="*/ 9728 h 6108971"/>
              <a:gd name="connsiteX3" fmla="*/ 5029200 w 11147898"/>
              <a:gd name="connsiteY3" fmla="*/ 0 h 6108971"/>
              <a:gd name="connsiteX4" fmla="*/ 11147898 w 11147898"/>
              <a:gd name="connsiteY4" fmla="*/ 6108971 h 6108971"/>
              <a:gd name="connsiteX5" fmla="*/ 1079770 w 11147898"/>
              <a:gd name="connsiteY5" fmla="*/ 6099243 h 61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47898" h="6108971">
                <a:moveTo>
                  <a:pt x="1079770" y="6099243"/>
                </a:moveTo>
                <a:lnTo>
                  <a:pt x="0" y="5058383"/>
                </a:lnTo>
                <a:lnTo>
                  <a:pt x="0" y="9728"/>
                </a:lnTo>
                <a:lnTo>
                  <a:pt x="5029200" y="0"/>
                </a:lnTo>
                <a:lnTo>
                  <a:pt x="11147898" y="6108971"/>
                </a:lnTo>
                <a:lnTo>
                  <a:pt x="1079770" y="6099243"/>
                </a:lnTo>
                <a:close/>
              </a:path>
            </a:pathLst>
          </a:custGeom>
          <a:solidFill>
            <a:srgbClr val="73C8A9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Forme libre : forme 1">
            <a:extLst>
              <a:ext uri="{FF2B5EF4-FFF2-40B4-BE49-F238E27FC236}">
                <a16:creationId xmlns:a16="http://schemas.microsoft.com/office/drawing/2014/main" id="{FF79E38B-EE63-4726-BF07-31CD23CC449C}"/>
              </a:ext>
            </a:extLst>
          </p:cNvPr>
          <p:cNvSpPr/>
          <p:nvPr userDrawn="1"/>
        </p:nvSpPr>
        <p:spPr bwMode="auto">
          <a:xfrm>
            <a:off x="797668" y="758757"/>
            <a:ext cx="5058383" cy="5058383"/>
          </a:xfrm>
          <a:custGeom>
            <a:avLst/>
            <a:gdLst>
              <a:gd name="connsiteX0" fmla="*/ 0 w 5058383"/>
              <a:gd name="connsiteY0" fmla="*/ 0 h 5058383"/>
              <a:gd name="connsiteX1" fmla="*/ 2286000 w 5058383"/>
              <a:gd name="connsiteY1" fmla="*/ 9728 h 5058383"/>
              <a:gd name="connsiteX2" fmla="*/ 5058383 w 5058383"/>
              <a:gd name="connsiteY2" fmla="*/ 2782111 h 5058383"/>
              <a:gd name="connsiteX3" fmla="*/ 5058383 w 5058383"/>
              <a:gd name="connsiteY3" fmla="*/ 5058383 h 5058383"/>
              <a:gd name="connsiteX4" fmla="*/ 2791838 w 5058383"/>
              <a:gd name="connsiteY4" fmla="*/ 5048656 h 5058383"/>
              <a:gd name="connsiteX5" fmla="*/ 9728 w 5058383"/>
              <a:gd name="connsiteY5" fmla="*/ 2266545 h 5058383"/>
              <a:gd name="connsiteX6" fmla="*/ 0 w 5058383"/>
              <a:gd name="connsiteY6" fmla="*/ 0 h 5058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58383" h="5058383">
                <a:moveTo>
                  <a:pt x="0" y="0"/>
                </a:moveTo>
                <a:lnTo>
                  <a:pt x="2286000" y="9728"/>
                </a:lnTo>
                <a:lnTo>
                  <a:pt x="5058383" y="2782111"/>
                </a:lnTo>
                <a:lnTo>
                  <a:pt x="5058383" y="5058383"/>
                </a:lnTo>
                <a:lnTo>
                  <a:pt x="2791838" y="5048656"/>
                </a:lnTo>
                <a:lnTo>
                  <a:pt x="9728" y="2266545"/>
                </a:lnTo>
                <a:cubicBezTo>
                  <a:pt x="12970" y="1514273"/>
                  <a:pt x="16213" y="762000"/>
                  <a:pt x="0" y="0"/>
                </a:cubicBezTo>
                <a:close/>
              </a:path>
            </a:pathLst>
          </a:custGeom>
          <a:solidFill>
            <a:srgbClr val="8C2996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2956" y="1055740"/>
            <a:ext cx="2160000" cy="360000"/>
          </a:xfr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aissedesdepots.fr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F161F054-B3DD-4895-9E27-7B3EBA77B0A2}"/>
              </a:ext>
            </a:extLst>
          </p:cNvPr>
          <p:cNvGrpSpPr/>
          <p:nvPr userDrawn="1"/>
        </p:nvGrpSpPr>
        <p:grpSpPr>
          <a:xfrm>
            <a:off x="1006315" y="1465233"/>
            <a:ext cx="1374198" cy="192118"/>
            <a:chOff x="1134903" y="1462851"/>
            <a:chExt cx="1697834" cy="237363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A03C2A1-7262-4224-B966-B845D8D4E8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26320" y="1467335"/>
              <a:ext cx="335039" cy="232469"/>
            </a:xfrm>
            <a:custGeom>
              <a:avLst/>
              <a:gdLst>
                <a:gd name="T0" fmla="*/ 934 w 1124"/>
                <a:gd name="T1" fmla="*/ 0 h 778"/>
                <a:gd name="T2" fmla="*/ 190 w 1124"/>
                <a:gd name="T3" fmla="*/ 0 h 778"/>
                <a:gd name="T4" fmla="*/ 0 w 1124"/>
                <a:gd name="T5" fmla="*/ 190 h 778"/>
                <a:gd name="T6" fmla="*/ 0 w 1124"/>
                <a:gd name="T7" fmla="*/ 588 h 778"/>
                <a:gd name="T8" fmla="*/ 190 w 1124"/>
                <a:gd name="T9" fmla="*/ 778 h 778"/>
                <a:gd name="T10" fmla="*/ 934 w 1124"/>
                <a:gd name="T11" fmla="*/ 778 h 778"/>
                <a:gd name="T12" fmla="*/ 1124 w 1124"/>
                <a:gd name="T13" fmla="*/ 588 h 778"/>
                <a:gd name="T14" fmla="*/ 1124 w 1124"/>
                <a:gd name="T15" fmla="*/ 190 h 778"/>
                <a:gd name="T16" fmla="*/ 934 w 1124"/>
                <a:gd name="T17" fmla="*/ 0 h 778"/>
                <a:gd name="T18" fmla="*/ 610 w 1124"/>
                <a:gd name="T19" fmla="*/ 475 h 778"/>
                <a:gd name="T20" fmla="*/ 441 w 1124"/>
                <a:gd name="T21" fmla="*/ 562 h 778"/>
                <a:gd name="T22" fmla="*/ 441 w 1124"/>
                <a:gd name="T23" fmla="*/ 216 h 778"/>
                <a:gd name="T24" fmla="*/ 610 w 1124"/>
                <a:gd name="T25" fmla="*/ 303 h 778"/>
                <a:gd name="T26" fmla="*/ 778 w 1124"/>
                <a:gd name="T27" fmla="*/ 389 h 778"/>
                <a:gd name="T28" fmla="*/ 610 w 1124"/>
                <a:gd name="T29" fmla="*/ 475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4" h="778">
                  <a:moveTo>
                    <a:pt x="934" y="0"/>
                  </a:moveTo>
                  <a:cubicBezTo>
                    <a:pt x="190" y="0"/>
                    <a:pt x="190" y="0"/>
                    <a:pt x="190" y="0"/>
                  </a:cubicBezTo>
                  <a:cubicBezTo>
                    <a:pt x="86" y="0"/>
                    <a:pt x="0" y="85"/>
                    <a:pt x="0" y="190"/>
                  </a:cubicBezTo>
                  <a:cubicBezTo>
                    <a:pt x="0" y="588"/>
                    <a:pt x="0" y="588"/>
                    <a:pt x="0" y="588"/>
                  </a:cubicBezTo>
                  <a:cubicBezTo>
                    <a:pt x="0" y="693"/>
                    <a:pt x="86" y="778"/>
                    <a:pt x="190" y="778"/>
                  </a:cubicBezTo>
                  <a:cubicBezTo>
                    <a:pt x="934" y="778"/>
                    <a:pt x="934" y="778"/>
                    <a:pt x="934" y="778"/>
                  </a:cubicBezTo>
                  <a:cubicBezTo>
                    <a:pt x="1038" y="778"/>
                    <a:pt x="1124" y="693"/>
                    <a:pt x="1124" y="588"/>
                  </a:cubicBezTo>
                  <a:cubicBezTo>
                    <a:pt x="1124" y="190"/>
                    <a:pt x="1124" y="190"/>
                    <a:pt x="1124" y="190"/>
                  </a:cubicBezTo>
                  <a:cubicBezTo>
                    <a:pt x="1124" y="85"/>
                    <a:pt x="1038" y="0"/>
                    <a:pt x="934" y="0"/>
                  </a:cubicBezTo>
                  <a:close/>
                  <a:moveTo>
                    <a:pt x="610" y="475"/>
                  </a:moveTo>
                  <a:cubicBezTo>
                    <a:pt x="441" y="562"/>
                    <a:pt x="441" y="562"/>
                    <a:pt x="441" y="562"/>
                  </a:cubicBezTo>
                  <a:cubicBezTo>
                    <a:pt x="441" y="216"/>
                    <a:pt x="441" y="216"/>
                    <a:pt x="441" y="216"/>
                  </a:cubicBezTo>
                  <a:cubicBezTo>
                    <a:pt x="610" y="303"/>
                    <a:pt x="610" y="303"/>
                    <a:pt x="610" y="303"/>
                  </a:cubicBezTo>
                  <a:cubicBezTo>
                    <a:pt x="778" y="389"/>
                    <a:pt x="778" y="389"/>
                    <a:pt x="778" y="389"/>
                  </a:cubicBezTo>
                  <a:lnTo>
                    <a:pt x="610" y="4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546CDF66-23E9-40D4-8C48-38D2A207FC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520666" y="1463356"/>
              <a:ext cx="0" cy="236858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EF95A7EB-EA7F-4577-B10B-9C29FF74D6C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009103" y="1463356"/>
              <a:ext cx="0" cy="236858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35827162-24C1-408B-A9BF-40E6BBADA5F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1642904" y="1466441"/>
              <a:ext cx="244134" cy="233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547AC831-1E19-496A-B00F-0B93E54D5BF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46494" y="1462851"/>
              <a:ext cx="244134" cy="236953"/>
            </a:xfrm>
            <a:custGeom>
              <a:avLst/>
              <a:gdLst>
                <a:gd name="T0" fmla="*/ 66 w 66"/>
                <a:gd name="T1" fmla="*/ 39 h 64"/>
                <a:gd name="T2" fmla="*/ 66 w 66"/>
                <a:gd name="T3" fmla="*/ 64 h 64"/>
                <a:gd name="T4" fmla="*/ 52 w 66"/>
                <a:gd name="T5" fmla="*/ 64 h 64"/>
                <a:gd name="T6" fmla="*/ 52 w 66"/>
                <a:gd name="T7" fmla="*/ 41 h 64"/>
                <a:gd name="T8" fmla="*/ 45 w 66"/>
                <a:gd name="T9" fmla="*/ 31 h 64"/>
                <a:gd name="T10" fmla="*/ 37 w 66"/>
                <a:gd name="T11" fmla="*/ 36 h 64"/>
                <a:gd name="T12" fmla="*/ 37 w 66"/>
                <a:gd name="T13" fmla="*/ 40 h 64"/>
                <a:gd name="T14" fmla="*/ 37 w 66"/>
                <a:gd name="T15" fmla="*/ 64 h 64"/>
                <a:gd name="T16" fmla="*/ 23 w 66"/>
                <a:gd name="T17" fmla="*/ 64 h 64"/>
                <a:gd name="T18" fmla="*/ 23 w 66"/>
                <a:gd name="T19" fmla="*/ 21 h 64"/>
                <a:gd name="T20" fmla="*/ 37 w 66"/>
                <a:gd name="T21" fmla="*/ 21 h 64"/>
                <a:gd name="T22" fmla="*/ 37 w 66"/>
                <a:gd name="T23" fmla="*/ 27 h 64"/>
                <a:gd name="T24" fmla="*/ 37 w 66"/>
                <a:gd name="T25" fmla="*/ 27 h 64"/>
                <a:gd name="T26" fmla="*/ 37 w 66"/>
                <a:gd name="T27" fmla="*/ 27 h 64"/>
                <a:gd name="T28" fmla="*/ 37 w 66"/>
                <a:gd name="T29" fmla="*/ 27 h 64"/>
                <a:gd name="T30" fmla="*/ 50 w 66"/>
                <a:gd name="T31" fmla="*/ 20 h 64"/>
                <a:gd name="T32" fmla="*/ 66 w 66"/>
                <a:gd name="T33" fmla="*/ 39 h 64"/>
                <a:gd name="T34" fmla="*/ 8 w 66"/>
                <a:gd name="T35" fmla="*/ 0 h 64"/>
                <a:gd name="T36" fmla="*/ 0 w 66"/>
                <a:gd name="T37" fmla="*/ 7 h 64"/>
                <a:gd name="T38" fmla="*/ 7 w 66"/>
                <a:gd name="T39" fmla="*/ 15 h 64"/>
                <a:gd name="T40" fmla="*/ 8 w 66"/>
                <a:gd name="T41" fmla="*/ 15 h 64"/>
                <a:gd name="T42" fmla="*/ 16 w 66"/>
                <a:gd name="T43" fmla="*/ 7 h 64"/>
                <a:gd name="T44" fmla="*/ 8 w 66"/>
                <a:gd name="T45" fmla="*/ 0 h 64"/>
                <a:gd name="T46" fmla="*/ 0 w 66"/>
                <a:gd name="T47" fmla="*/ 64 h 64"/>
                <a:gd name="T48" fmla="*/ 15 w 66"/>
                <a:gd name="T49" fmla="*/ 64 h 64"/>
                <a:gd name="T50" fmla="*/ 15 w 66"/>
                <a:gd name="T51" fmla="*/ 21 h 64"/>
                <a:gd name="T52" fmla="*/ 0 w 66"/>
                <a:gd name="T53" fmla="*/ 21 h 64"/>
                <a:gd name="T54" fmla="*/ 0 w 66"/>
                <a:gd name="T5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" h="64">
                  <a:moveTo>
                    <a:pt x="66" y="39"/>
                  </a:moveTo>
                  <a:cubicBezTo>
                    <a:pt x="66" y="64"/>
                    <a:pt x="66" y="64"/>
                    <a:pt x="66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35"/>
                    <a:pt x="50" y="31"/>
                    <a:pt x="45" y="31"/>
                  </a:cubicBezTo>
                  <a:cubicBezTo>
                    <a:pt x="41" y="31"/>
                    <a:pt x="38" y="34"/>
                    <a:pt x="37" y="36"/>
                  </a:cubicBezTo>
                  <a:cubicBezTo>
                    <a:pt x="37" y="37"/>
                    <a:pt x="37" y="38"/>
                    <a:pt x="37" y="40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23" y="64"/>
                    <a:pt x="23" y="64"/>
                    <a:pt x="23" y="64"/>
                  </a:cubicBezTo>
                  <a:cubicBezTo>
                    <a:pt x="23" y="64"/>
                    <a:pt x="23" y="25"/>
                    <a:pt x="23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9" y="24"/>
                    <a:pt x="42" y="20"/>
                    <a:pt x="50" y="20"/>
                  </a:cubicBezTo>
                  <a:cubicBezTo>
                    <a:pt x="59" y="20"/>
                    <a:pt x="66" y="26"/>
                    <a:pt x="66" y="39"/>
                  </a:cubicBezTo>
                  <a:close/>
                  <a:moveTo>
                    <a:pt x="8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5"/>
                    <a:pt x="7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3" y="15"/>
                    <a:pt x="16" y="11"/>
                    <a:pt x="16" y="7"/>
                  </a:cubicBezTo>
                  <a:cubicBezTo>
                    <a:pt x="16" y="3"/>
                    <a:pt x="13" y="0"/>
                    <a:pt x="8" y="0"/>
                  </a:cubicBezTo>
                  <a:close/>
                  <a:moveTo>
                    <a:pt x="0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0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AutoShape 7">
              <a:extLst>
                <a:ext uri="{FF2B5EF4-FFF2-40B4-BE49-F238E27FC236}">
                  <a16:creationId xmlns:a16="http://schemas.microsoft.com/office/drawing/2014/main" id="{E297F7F2-8B2C-4536-9006-0007F8B0E810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712088" y="1477068"/>
              <a:ext cx="120649" cy="222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E83B25D8-97A5-4CAD-B771-88F3AC418A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08994" y="1473974"/>
              <a:ext cx="120649" cy="225830"/>
            </a:xfrm>
            <a:custGeom>
              <a:avLst/>
              <a:gdLst>
                <a:gd name="T0" fmla="*/ 21 w 33"/>
                <a:gd name="T1" fmla="*/ 64 h 64"/>
                <a:gd name="T2" fmla="*/ 21 w 33"/>
                <a:gd name="T3" fmla="*/ 35 h 64"/>
                <a:gd name="T4" fmla="*/ 31 w 33"/>
                <a:gd name="T5" fmla="*/ 35 h 64"/>
                <a:gd name="T6" fmla="*/ 33 w 33"/>
                <a:gd name="T7" fmla="*/ 23 h 64"/>
                <a:gd name="T8" fmla="*/ 21 w 33"/>
                <a:gd name="T9" fmla="*/ 23 h 64"/>
                <a:gd name="T10" fmla="*/ 21 w 33"/>
                <a:gd name="T11" fmla="*/ 16 h 64"/>
                <a:gd name="T12" fmla="*/ 27 w 33"/>
                <a:gd name="T13" fmla="*/ 10 h 64"/>
                <a:gd name="T14" fmla="*/ 33 w 33"/>
                <a:gd name="T15" fmla="*/ 10 h 64"/>
                <a:gd name="T16" fmla="*/ 33 w 33"/>
                <a:gd name="T17" fmla="*/ 0 h 64"/>
                <a:gd name="T18" fmla="*/ 24 w 33"/>
                <a:gd name="T19" fmla="*/ 0 h 64"/>
                <a:gd name="T20" fmla="*/ 10 w 33"/>
                <a:gd name="T21" fmla="*/ 15 h 64"/>
                <a:gd name="T22" fmla="*/ 10 w 33"/>
                <a:gd name="T23" fmla="*/ 23 h 64"/>
                <a:gd name="T24" fmla="*/ 0 w 33"/>
                <a:gd name="T25" fmla="*/ 23 h 64"/>
                <a:gd name="T26" fmla="*/ 0 w 33"/>
                <a:gd name="T27" fmla="*/ 35 h 64"/>
                <a:gd name="T28" fmla="*/ 10 w 33"/>
                <a:gd name="T29" fmla="*/ 35 h 64"/>
                <a:gd name="T30" fmla="*/ 10 w 33"/>
                <a:gd name="T31" fmla="*/ 64 h 64"/>
                <a:gd name="T32" fmla="*/ 21 w 33"/>
                <a:gd name="T3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64">
                  <a:moveTo>
                    <a:pt x="21" y="64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3"/>
                    <a:pt x="22" y="10"/>
                    <a:pt x="27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28" y="0"/>
                    <a:pt x="24" y="0"/>
                  </a:cubicBezTo>
                  <a:cubicBezTo>
                    <a:pt x="16" y="0"/>
                    <a:pt x="10" y="5"/>
                    <a:pt x="10" y="15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64"/>
                    <a:pt x="10" y="64"/>
                    <a:pt x="10" y="64"/>
                  </a:cubicBezTo>
                  <a:lnTo>
                    <a:pt x="21" y="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2101A7A2-88B8-4770-962C-53D87EF56619}"/>
                </a:ext>
              </a:extLst>
            </p:cNvPr>
            <p:cNvSpPr>
              <a:spLocks noChangeAspect="1"/>
            </p:cNvSpPr>
            <p:nvPr userDrawn="1"/>
          </p:nvSpPr>
          <p:spPr bwMode="auto">
            <a:xfrm>
              <a:off x="1134903" y="1466441"/>
              <a:ext cx="286703" cy="233363"/>
            </a:xfrm>
            <a:custGeom>
              <a:avLst/>
              <a:gdLst>
                <a:gd name="T0" fmla="*/ 573 w 827"/>
                <a:gd name="T1" fmla="*/ 0 h 672"/>
                <a:gd name="T2" fmla="*/ 696 w 827"/>
                <a:gd name="T3" fmla="*/ 53 h 672"/>
                <a:gd name="T4" fmla="*/ 804 w 827"/>
                <a:gd name="T5" fmla="*/ 12 h 672"/>
                <a:gd name="T6" fmla="*/ 730 w 827"/>
                <a:gd name="T7" fmla="*/ 106 h 672"/>
                <a:gd name="T8" fmla="*/ 827 w 827"/>
                <a:gd name="T9" fmla="*/ 79 h 672"/>
                <a:gd name="T10" fmla="*/ 742 w 827"/>
                <a:gd name="T11" fmla="*/ 167 h 672"/>
                <a:gd name="T12" fmla="*/ 743 w 827"/>
                <a:gd name="T13" fmla="*/ 189 h 672"/>
                <a:gd name="T14" fmla="*/ 260 w 827"/>
                <a:gd name="T15" fmla="*/ 672 h 672"/>
                <a:gd name="T16" fmla="*/ 0 w 827"/>
                <a:gd name="T17" fmla="*/ 596 h 672"/>
                <a:gd name="T18" fmla="*/ 40 w 827"/>
                <a:gd name="T19" fmla="*/ 598 h 672"/>
                <a:gd name="T20" fmla="*/ 251 w 827"/>
                <a:gd name="T21" fmla="*/ 525 h 672"/>
                <a:gd name="T22" fmla="*/ 92 w 827"/>
                <a:gd name="T23" fmla="*/ 408 h 672"/>
                <a:gd name="T24" fmla="*/ 169 w 827"/>
                <a:gd name="T25" fmla="*/ 405 h 672"/>
                <a:gd name="T26" fmla="*/ 33 w 827"/>
                <a:gd name="T27" fmla="*/ 238 h 672"/>
                <a:gd name="T28" fmla="*/ 33 w 827"/>
                <a:gd name="T29" fmla="*/ 236 h 672"/>
                <a:gd name="T30" fmla="*/ 110 w 827"/>
                <a:gd name="T31" fmla="*/ 257 h 672"/>
                <a:gd name="T32" fmla="*/ 57 w 827"/>
                <a:gd name="T33" fmla="*/ 31 h 672"/>
                <a:gd name="T34" fmla="*/ 407 w 827"/>
                <a:gd name="T35" fmla="*/ 208 h 672"/>
                <a:gd name="T36" fmla="*/ 534 w 827"/>
                <a:gd name="T37" fmla="*/ 4 h 672"/>
                <a:gd name="T38" fmla="*/ 573 w 827"/>
                <a:gd name="T39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7" h="672">
                  <a:moveTo>
                    <a:pt x="573" y="0"/>
                  </a:moveTo>
                  <a:cubicBezTo>
                    <a:pt x="619" y="0"/>
                    <a:pt x="664" y="19"/>
                    <a:pt x="696" y="53"/>
                  </a:cubicBezTo>
                  <a:cubicBezTo>
                    <a:pt x="734" y="46"/>
                    <a:pt x="771" y="32"/>
                    <a:pt x="804" y="12"/>
                  </a:cubicBezTo>
                  <a:cubicBezTo>
                    <a:pt x="792" y="51"/>
                    <a:pt x="765" y="85"/>
                    <a:pt x="730" y="106"/>
                  </a:cubicBezTo>
                  <a:cubicBezTo>
                    <a:pt x="763" y="102"/>
                    <a:pt x="796" y="93"/>
                    <a:pt x="827" y="79"/>
                  </a:cubicBezTo>
                  <a:cubicBezTo>
                    <a:pt x="804" y="113"/>
                    <a:pt x="776" y="143"/>
                    <a:pt x="742" y="167"/>
                  </a:cubicBezTo>
                  <a:cubicBezTo>
                    <a:pt x="743" y="174"/>
                    <a:pt x="743" y="182"/>
                    <a:pt x="743" y="189"/>
                  </a:cubicBezTo>
                  <a:cubicBezTo>
                    <a:pt x="743" y="413"/>
                    <a:pt x="572" y="672"/>
                    <a:pt x="260" y="672"/>
                  </a:cubicBezTo>
                  <a:cubicBezTo>
                    <a:pt x="168" y="672"/>
                    <a:pt x="77" y="646"/>
                    <a:pt x="0" y="596"/>
                  </a:cubicBezTo>
                  <a:cubicBezTo>
                    <a:pt x="13" y="597"/>
                    <a:pt x="27" y="598"/>
                    <a:pt x="40" y="598"/>
                  </a:cubicBezTo>
                  <a:cubicBezTo>
                    <a:pt x="117" y="598"/>
                    <a:pt x="191" y="573"/>
                    <a:pt x="251" y="525"/>
                  </a:cubicBezTo>
                  <a:cubicBezTo>
                    <a:pt x="178" y="524"/>
                    <a:pt x="115" y="477"/>
                    <a:pt x="92" y="408"/>
                  </a:cubicBezTo>
                  <a:cubicBezTo>
                    <a:pt x="118" y="412"/>
                    <a:pt x="144" y="411"/>
                    <a:pt x="169" y="405"/>
                  </a:cubicBezTo>
                  <a:cubicBezTo>
                    <a:pt x="90" y="389"/>
                    <a:pt x="33" y="319"/>
                    <a:pt x="33" y="238"/>
                  </a:cubicBezTo>
                  <a:cubicBezTo>
                    <a:pt x="33" y="237"/>
                    <a:pt x="33" y="237"/>
                    <a:pt x="33" y="236"/>
                  </a:cubicBezTo>
                  <a:cubicBezTo>
                    <a:pt x="56" y="249"/>
                    <a:pt x="83" y="257"/>
                    <a:pt x="110" y="257"/>
                  </a:cubicBezTo>
                  <a:cubicBezTo>
                    <a:pt x="35" y="208"/>
                    <a:pt x="12" y="108"/>
                    <a:pt x="57" y="31"/>
                  </a:cubicBezTo>
                  <a:cubicBezTo>
                    <a:pt x="143" y="137"/>
                    <a:pt x="271" y="201"/>
                    <a:pt x="407" y="208"/>
                  </a:cubicBezTo>
                  <a:cubicBezTo>
                    <a:pt x="386" y="117"/>
                    <a:pt x="443" y="25"/>
                    <a:pt x="534" y="4"/>
                  </a:cubicBezTo>
                  <a:cubicBezTo>
                    <a:pt x="547" y="1"/>
                    <a:pt x="560" y="0"/>
                    <a:pt x="573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id="{9375EA39-FE90-4420-9AB9-F2BF46559A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585366" y="1463356"/>
              <a:ext cx="0" cy="236858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00932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11">
          <p15:clr>
            <a:srgbClr val="FBAE40"/>
          </p15:clr>
        </p15:guide>
        <p15:guide id="2" pos="3681">
          <p15:clr>
            <a:srgbClr val="FBAE40"/>
          </p15:clr>
        </p15:guide>
        <p15:guide id="3" pos="2252">
          <p15:clr>
            <a:srgbClr val="FBAE40"/>
          </p15:clr>
        </p15:guide>
        <p15:guide id="4" pos="1935">
          <p15:clr>
            <a:srgbClr val="FBAE40"/>
          </p15:clr>
        </p15:guide>
        <p15:guide id="5" pos="506">
          <p15:clr>
            <a:srgbClr val="FBAE40"/>
          </p15:clr>
        </p15:guide>
        <p15:guide id="6">
          <p15:clr>
            <a:srgbClr val="FBAE40"/>
          </p15:clr>
        </p15:guide>
        <p15:guide id="7" pos="7680">
          <p15:clr>
            <a:srgbClr val="FBAE40"/>
          </p15:clr>
        </p15:guide>
        <p15:guide id="8" orient="horz" pos="2228">
          <p15:clr>
            <a:srgbClr val="FBAE40"/>
          </p15:clr>
        </p15:guide>
        <p15:guide id="9" orient="horz" pos="3657">
          <p15:clr>
            <a:srgbClr val="FBAE40"/>
          </p15:clr>
        </p15:guide>
        <p15:guide id="10" orient="horz" pos="4320">
          <p15:clr>
            <a:srgbClr val="FBAE40"/>
          </p15:clr>
        </p15:guide>
        <p15:guide id="11" orient="horz" pos="482">
          <p15:clr>
            <a:srgbClr val="FBAE40"/>
          </p15:clr>
        </p15:guide>
        <p15:guide id="12" pos="7514">
          <p15:clr>
            <a:srgbClr val="FBAE40"/>
          </p15:clr>
        </p15:guide>
        <p15:guide id="13" pos="1186">
          <p15:clr>
            <a:srgbClr val="FBAE40"/>
          </p15:clr>
        </p15:guide>
        <p15:guide id="14" orient="horz" pos="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e 40">
            <a:extLst>
              <a:ext uri="{FF2B5EF4-FFF2-40B4-BE49-F238E27FC236}">
                <a16:creationId xmlns:a16="http://schemas.microsoft.com/office/drawing/2014/main" id="{57888B23-A2CD-4684-B3E8-9DE4B27729B7}"/>
              </a:ext>
            </a:extLst>
          </p:cNvPr>
          <p:cNvGrpSpPr/>
          <p:nvPr userDrawn="1"/>
        </p:nvGrpSpPr>
        <p:grpSpPr>
          <a:xfrm>
            <a:off x="-4864" y="0"/>
            <a:ext cx="12205996" cy="6858000"/>
            <a:chOff x="-4864" y="0"/>
            <a:chExt cx="12205996" cy="6858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5B1EB73-611B-4D7D-9DCA-D502432DE7CF}"/>
                </a:ext>
              </a:extLst>
            </p:cNvPr>
            <p:cNvSpPr/>
            <p:nvPr userDrawn="1"/>
          </p:nvSpPr>
          <p:spPr bwMode="auto">
            <a:xfrm>
              <a:off x="-4864" y="0"/>
              <a:ext cx="12205996" cy="6858000"/>
            </a:xfrm>
            <a:prstGeom prst="rect">
              <a:avLst/>
            </a:prstGeom>
            <a:solidFill>
              <a:srgbClr val="A1B4D2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fr-FR"/>
            </a:p>
          </p:txBody>
        </p:sp>
        <p:pic>
          <p:nvPicPr>
            <p:cNvPr id="25" name="Image 24">
              <a:extLst>
                <a:ext uri="{FF2B5EF4-FFF2-40B4-BE49-F238E27FC236}">
                  <a16:creationId xmlns:a16="http://schemas.microsoft.com/office/drawing/2014/main" id="{7AC3BE48-A074-4927-9DF9-E68E910DE2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531" y="5516563"/>
              <a:ext cx="1065669" cy="1065669"/>
            </a:xfrm>
            <a:prstGeom prst="rect">
              <a:avLst/>
            </a:prstGeom>
          </p:spPr>
        </p:pic>
      </p:grp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D48389DE-45FA-49E3-8E22-3A910C6AEE85}"/>
              </a:ext>
            </a:extLst>
          </p:cNvPr>
          <p:cNvSpPr/>
          <p:nvPr userDrawn="1"/>
        </p:nvSpPr>
        <p:spPr bwMode="auto">
          <a:xfrm>
            <a:off x="1600200" y="-9728"/>
            <a:ext cx="10591800" cy="5535039"/>
          </a:xfrm>
          <a:custGeom>
            <a:avLst/>
            <a:gdLst>
              <a:gd name="connsiteX0" fmla="*/ 0 w 10591800"/>
              <a:gd name="connsiteY0" fmla="*/ 0 h 5495925"/>
              <a:gd name="connsiteX1" fmla="*/ 0 w 10591800"/>
              <a:gd name="connsiteY1" fmla="*/ 5495925 h 5495925"/>
              <a:gd name="connsiteX2" fmla="*/ 8401050 w 10591800"/>
              <a:gd name="connsiteY2" fmla="*/ 5495925 h 5495925"/>
              <a:gd name="connsiteX3" fmla="*/ 10591800 w 10591800"/>
              <a:gd name="connsiteY3" fmla="*/ 3324225 h 5495925"/>
              <a:gd name="connsiteX4" fmla="*/ 10591800 w 10591800"/>
              <a:gd name="connsiteY4" fmla="*/ 0 h 5495925"/>
              <a:gd name="connsiteX5" fmla="*/ 0 w 10591800"/>
              <a:gd name="connsiteY5" fmla="*/ 0 h 5495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91800" h="5495925">
                <a:moveTo>
                  <a:pt x="0" y="0"/>
                </a:moveTo>
                <a:lnTo>
                  <a:pt x="0" y="5495925"/>
                </a:lnTo>
                <a:lnTo>
                  <a:pt x="8401050" y="5495925"/>
                </a:lnTo>
                <a:lnTo>
                  <a:pt x="10591800" y="3324225"/>
                </a:lnTo>
                <a:lnTo>
                  <a:pt x="105918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3B1AE203-C696-4ADA-929E-BC9CD0292A89}"/>
              </a:ext>
            </a:extLst>
          </p:cNvPr>
          <p:cNvSpPr/>
          <p:nvPr userDrawn="1"/>
        </p:nvSpPr>
        <p:spPr bwMode="auto">
          <a:xfrm>
            <a:off x="1600200" y="-9728"/>
            <a:ext cx="7297220" cy="5535039"/>
          </a:xfrm>
          <a:custGeom>
            <a:avLst/>
            <a:gdLst>
              <a:gd name="connsiteX0" fmla="*/ 0 w 7223760"/>
              <a:gd name="connsiteY0" fmla="*/ 5486400 h 5495544"/>
              <a:gd name="connsiteX1" fmla="*/ 0 w 7223760"/>
              <a:gd name="connsiteY1" fmla="*/ 2249424 h 5495544"/>
              <a:gd name="connsiteX2" fmla="*/ 2258568 w 7223760"/>
              <a:gd name="connsiteY2" fmla="*/ 0 h 5495544"/>
              <a:gd name="connsiteX3" fmla="*/ 7223760 w 7223760"/>
              <a:gd name="connsiteY3" fmla="*/ 0 h 5495544"/>
              <a:gd name="connsiteX4" fmla="*/ 7223760 w 7223760"/>
              <a:gd name="connsiteY4" fmla="*/ 1499616 h 5495544"/>
              <a:gd name="connsiteX5" fmla="*/ 3236976 w 7223760"/>
              <a:gd name="connsiteY5" fmla="*/ 5495544 h 5495544"/>
              <a:gd name="connsiteX6" fmla="*/ 0 w 7223760"/>
              <a:gd name="connsiteY6" fmla="*/ 5486400 h 549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223760" h="5495544">
                <a:moveTo>
                  <a:pt x="0" y="5486400"/>
                </a:moveTo>
                <a:lnTo>
                  <a:pt x="0" y="2249424"/>
                </a:lnTo>
                <a:lnTo>
                  <a:pt x="2258568" y="0"/>
                </a:lnTo>
                <a:lnTo>
                  <a:pt x="7223760" y="0"/>
                </a:lnTo>
                <a:lnTo>
                  <a:pt x="7223760" y="1499616"/>
                </a:lnTo>
                <a:lnTo>
                  <a:pt x="3236976" y="5495544"/>
                </a:lnTo>
                <a:lnTo>
                  <a:pt x="0" y="5486400"/>
                </a:lnTo>
                <a:close/>
              </a:path>
            </a:pathLst>
          </a:custGeom>
          <a:solidFill>
            <a:srgbClr val="8C2896"/>
          </a:solidFill>
          <a:ln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0C5EE01-F973-4120-91B8-34CAA765DBA3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2308225" y="3146222"/>
            <a:ext cx="9360000" cy="1260000"/>
          </a:xfrm>
        </p:spPr>
        <p:txBody>
          <a:bodyPr anchor="b"/>
          <a:lstStyle>
            <a:lvl1pPr algn="l">
              <a:defRPr sz="35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0AEA671-FC71-4FFA-B81F-CABE73D6E490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2308226" y="4509658"/>
            <a:ext cx="9360000" cy="360000"/>
          </a:xfrm>
        </p:spPr>
        <p:txBody>
          <a:bodyPr anchor="t"/>
          <a:lstStyle>
            <a:lvl1pPr marL="0" indent="0" algn="l">
              <a:buNone/>
              <a:defRPr sz="160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02726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75">
          <p15:clr>
            <a:srgbClr val="FBAE40"/>
          </p15:clr>
        </p15:guide>
        <p15:guide id="2" pos="1005">
          <p15:clr>
            <a:srgbClr val="FBAE40"/>
          </p15:clr>
        </p15:guide>
        <p15:guide id="3" pos="6244">
          <p15:clr>
            <a:srgbClr val="FBAE40"/>
          </p15:clr>
        </p15:guide>
        <p15:guide id="4" orient="horz" pos="935">
          <p15:clr>
            <a:srgbClr val="FBAE40"/>
          </p15:clr>
        </p15:guide>
        <p15:guide id="5" orient="horz" pos="1434">
          <p15:clr>
            <a:srgbClr val="FBAE40"/>
          </p15:clr>
        </p15:guide>
        <p15:guide id="6" orient="horz">
          <p15:clr>
            <a:srgbClr val="FBAE40"/>
          </p15:clr>
        </p15:guide>
        <p15:guide id="7" pos="5518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4156">
          <p15:clr>
            <a:srgbClr val="FBAE40"/>
          </p15:clr>
        </p15:guide>
        <p15:guide id="10" pos="3749">
          <p15:clr>
            <a:srgbClr val="FBAE40"/>
          </p15:clr>
        </p15:guide>
        <p15:guide id="11" pos="7680">
          <p15:clr>
            <a:srgbClr val="FBAE40"/>
          </p15:clr>
        </p15:guide>
        <p15:guide id="13" pos="2434">
          <p15:clr>
            <a:srgbClr val="FBAE40"/>
          </p15:clr>
        </p15:guide>
        <p15:guide id="16">
          <p15:clr>
            <a:srgbClr val="FBAE40"/>
          </p15:clr>
        </p15:guide>
        <p15:guide id="17" pos="3046">
          <p15:clr>
            <a:srgbClr val="FBAE40"/>
          </p15:clr>
        </p15:guide>
        <p15:guide id="18" orient="horz" pos="202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7AB54D-A6D3-4709-8368-E4D626EA40B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1FFF4705-E89C-4A73-B858-6A5661C8AE7E}"/>
              </a:ext>
            </a:extLst>
          </p:cNvPr>
          <p:cNvSpPr/>
          <p:nvPr userDrawn="1"/>
        </p:nvSpPr>
        <p:spPr bwMode="auto">
          <a:xfrm>
            <a:off x="1556736" y="1501132"/>
            <a:ext cx="9705974" cy="5362575"/>
          </a:xfrm>
          <a:custGeom>
            <a:avLst/>
            <a:gdLst>
              <a:gd name="connsiteX0" fmla="*/ 0 w 9696450"/>
              <a:gd name="connsiteY0" fmla="*/ 9525 h 5362575"/>
              <a:gd name="connsiteX1" fmla="*/ 0 w 9696450"/>
              <a:gd name="connsiteY1" fmla="*/ 4371975 h 5362575"/>
              <a:gd name="connsiteX2" fmla="*/ 981075 w 9696450"/>
              <a:gd name="connsiteY2" fmla="*/ 5362575 h 5362575"/>
              <a:gd name="connsiteX3" fmla="*/ 9696450 w 9696450"/>
              <a:gd name="connsiteY3" fmla="*/ 5362575 h 5362575"/>
              <a:gd name="connsiteX4" fmla="*/ 4362450 w 9696450"/>
              <a:gd name="connsiteY4" fmla="*/ 0 h 5362575"/>
              <a:gd name="connsiteX5" fmla="*/ 0 w 9696450"/>
              <a:gd name="connsiteY5" fmla="*/ 9525 h 536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96450" h="5362575">
                <a:moveTo>
                  <a:pt x="0" y="9525"/>
                </a:moveTo>
                <a:lnTo>
                  <a:pt x="0" y="4371975"/>
                </a:lnTo>
                <a:lnTo>
                  <a:pt x="981075" y="5362575"/>
                </a:lnTo>
                <a:lnTo>
                  <a:pt x="9696450" y="5362575"/>
                </a:lnTo>
                <a:lnTo>
                  <a:pt x="436245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09673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 dirty="0"/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B13BA9E8-BE96-4277-ABC3-139395BBD5C5}"/>
              </a:ext>
            </a:extLst>
          </p:cNvPr>
          <p:cNvSpPr/>
          <p:nvPr userDrawn="1"/>
        </p:nvSpPr>
        <p:spPr bwMode="auto">
          <a:xfrm>
            <a:off x="1556735" y="1501132"/>
            <a:ext cx="5000625" cy="5010150"/>
          </a:xfrm>
          <a:custGeom>
            <a:avLst/>
            <a:gdLst>
              <a:gd name="connsiteX0" fmla="*/ 0 w 5000625"/>
              <a:gd name="connsiteY0" fmla="*/ 0 h 5010150"/>
              <a:gd name="connsiteX1" fmla="*/ 2219325 w 5000625"/>
              <a:gd name="connsiteY1" fmla="*/ 0 h 5010150"/>
              <a:gd name="connsiteX2" fmla="*/ 5000625 w 5000625"/>
              <a:gd name="connsiteY2" fmla="*/ 2752725 h 5010150"/>
              <a:gd name="connsiteX3" fmla="*/ 5000625 w 5000625"/>
              <a:gd name="connsiteY3" fmla="*/ 5010150 h 5010150"/>
              <a:gd name="connsiteX4" fmla="*/ 2771775 w 5000625"/>
              <a:gd name="connsiteY4" fmla="*/ 5010150 h 5010150"/>
              <a:gd name="connsiteX5" fmla="*/ 0 w 5000625"/>
              <a:gd name="connsiteY5" fmla="*/ 2247900 h 5010150"/>
              <a:gd name="connsiteX6" fmla="*/ 0 w 5000625"/>
              <a:gd name="connsiteY6" fmla="*/ 0 h 501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0625" h="5010150">
                <a:moveTo>
                  <a:pt x="0" y="0"/>
                </a:moveTo>
                <a:lnTo>
                  <a:pt x="2219325" y="0"/>
                </a:lnTo>
                <a:lnTo>
                  <a:pt x="5000625" y="2752725"/>
                </a:lnTo>
                <a:lnTo>
                  <a:pt x="5000625" y="5010150"/>
                </a:lnTo>
                <a:lnTo>
                  <a:pt x="2771775" y="5010150"/>
                </a:lnTo>
                <a:lnTo>
                  <a:pt x="0" y="2247900"/>
                </a:lnTo>
                <a:lnTo>
                  <a:pt x="0" y="0"/>
                </a:lnTo>
                <a:close/>
              </a:path>
            </a:pathLst>
          </a:custGeom>
          <a:solidFill>
            <a:srgbClr val="E6008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902711" y="1901501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902710" y="3295650"/>
            <a:ext cx="9360000" cy="126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74462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pos="3727">
          <p15:clr>
            <a:srgbClr val="FBAE40"/>
          </p15:clr>
        </p15:guide>
        <p15:guide id="3" pos="960">
          <p15:clr>
            <a:srgbClr val="FBAE40"/>
          </p15:clr>
        </p15:guide>
        <p15:guide id="4" orient="horz" pos="3680">
          <p15:clr>
            <a:srgbClr val="FBAE40"/>
          </p15:clr>
        </p15:guide>
        <p15:guide id="5" pos="4135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2682">
          <p15:clr>
            <a:srgbClr val="FBAE40"/>
          </p15:clr>
        </p15:guide>
        <p15:guide id="8" orient="horz" pos="4088">
          <p15:clr>
            <a:srgbClr val="FBAE40"/>
          </p15:clr>
        </p15:guide>
        <p15:guide id="9" orient="horz" pos="2364">
          <p15:clr>
            <a:srgbClr val="FBAE40"/>
          </p15:clr>
        </p15:guide>
        <p15:guide id="10" pos="7083">
          <p15:clr>
            <a:srgbClr val="FBAE40"/>
          </p15:clr>
        </p15:guide>
        <p15:guide id="11" pos="1595">
          <p15:clr>
            <a:srgbClr val="FBAE40"/>
          </p15:clr>
        </p15:guide>
        <p15:guide id="12" pos="2389">
          <p15:clr>
            <a:srgbClr val="FBAE40"/>
          </p15:clr>
        </p15:guide>
        <p15:guide id="13" pos="7">
          <p15:clr>
            <a:srgbClr val="FBAE40"/>
          </p15:clr>
        </p15:guide>
        <p15:guide id="14" pos="7680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0817EC4-598C-4E60-B7A2-604D10720413}"/>
              </a:ext>
            </a:extLst>
          </p:cNvPr>
          <p:cNvSpPr/>
          <p:nvPr userDrawn="1"/>
        </p:nvSpPr>
        <p:spPr bwMode="auto">
          <a:xfrm>
            <a:off x="0" y="0"/>
            <a:ext cx="12192000" cy="6850063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30DA1B4-CA76-497E-BE8A-E7049C15DBFA}"/>
              </a:ext>
            </a:extLst>
          </p:cNvPr>
          <p:cNvSpPr/>
          <p:nvPr userDrawn="1"/>
        </p:nvSpPr>
        <p:spPr bwMode="auto">
          <a:xfrm>
            <a:off x="1534602" y="0"/>
            <a:ext cx="9990034" cy="6154310"/>
          </a:xfrm>
          <a:custGeom>
            <a:avLst/>
            <a:gdLst>
              <a:gd name="connsiteX0" fmla="*/ 0 w 9990034"/>
              <a:gd name="connsiteY0" fmla="*/ 6170064 h 6170064"/>
              <a:gd name="connsiteX1" fmla="*/ 3785787 w 9990034"/>
              <a:gd name="connsiteY1" fmla="*/ 6170064 h 6170064"/>
              <a:gd name="connsiteX2" fmla="*/ 9990034 w 9990034"/>
              <a:gd name="connsiteY2" fmla="*/ 0 h 6170064"/>
              <a:gd name="connsiteX3" fmla="*/ 2427006 w 9990034"/>
              <a:gd name="connsiteY3" fmla="*/ 0 h 6170064"/>
              <a:gd name="connsiteX4" fmla="*/ 0 w 9990034"/>
              <a:gd name="connsiteY4" fmla="*/ 2409914 h 6170064"/>
              <a:gd name="connsiteX5" fmla="*/ 0 w 9990034"/>
              <a:gd name="connsiteY5" fmla="*/ 6170064 h 6170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90034" h="6170064">
                <a:moveTo>
                  <a:pt x="0" y="6170064"/>
                </a:moveTo>
                <a:lnTo>
                  <a:pt x="3785787" y="6170064"/>
                </a:lnTo>
                <a:lnTo>
                  <a:pt x="9990034" y="0"/>
                </a:lnTo>
                <a:lnTo>
                  <a:pt x="2427006" y="0"/>
                </a:lnTo>
                <a:lnTo>
                  <a:pt x="0" y="2409914"/>
                </a:lnTo>
                <a:cubicBezTo>
                  <a:pt x="2849" y="3666146"/>
                  <a:pt x="5697" y="4922378"/>
                  <a:pt x="0" y="6170064"/>
                </a:cubicBezTo>
                <a:close/>
              </a:path>
            </a:pathLst>
          </a:custGeom>
          <a:solidFill>
            <a:srgbClr val="82D2F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007899E8-845F-42CA-84E5-9C110E799567}"/>
              </a:ext>
            </a:extLst>
          </p:cNvPr>
          <p:cNvSpPr/>
          <p:nvPr userDrawn="1"/>
        </p:nvSpPr>
        <p:spPr bwMode="auto">
          <a:xfrm>
            <a:off x="1534601" y="0"/>
            <a:ext cx="8391970" cy="6152972"/>
          </a:xfrm>
          <a:custGeom>
            <a:avLst/>
            <a:gdLst>
              <a:gd name="connsiteX0" fmla="*/ 3896882 w 8391970"/>
              <a:gd name="connsiteY0" fmla="*/ 0 h 6152972"/>
              <a:gd name="connsiteX1" fmla="*/ 0 w 8391970"/>
              <a:gd name="connsiteY1" fmla="*/ 3905428 h 6152972"/>
              <a:gd name="connsiteX2" fmla="*/ 0 w 8391970"/>
              <a:gd name="connsiteY2" fmla="*/ 6152972 h 6152972"/>
              <a:gd name="connsiteX3" fmla="*/ 2247544 w 8391970"/>
              <a:gd name="connsiteY3" fmla="*/ 6152972 h 6152972"/>
              <a:gd name="connsiteX4" fmla="*/ 8391970 w 8391970"/>
              <a:gd name="connsiteY4" fmla="*/ 0 h 6152972"/>
              <a:gd name="connsiteX5" fmla="*/ 3896882 w 8391970"/>
              <a:gd name="connsiteY5" fmla="*/ 0 h 6152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91970" h="6152972">
                <a:moveTo>
                  <a:pt x="3896882" y="0"/>
                </a:moveTo>
                <a:lnTo>
                  <a:pt x="0" y="3905428"/>
                </a:lnTo>
                <a:lnTo>
                  <a:pt x="0" y="6152972"/>
                </a:lnTo>
                <a:lnTo>
                  <a:pt x="2247544" y="6152972"/>
                </a:lnTo>
                <a:lnTo>
                  <a:pt x="8391970" y="0"/>
                </a:lnTo>
                <a:lnTo>
                  <a:pt x="3896882" y="0"/>
                </a:lnTo>
                <a:close/>
              </a:path>
            </a:pathLst>
          </a:custGeom>
          <a:solidFill>
            <a:srgbClr val="5F5FA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2117023" y="3174769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2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117022" y="4712493"/>
            <a:ext cx="9360000" cy="126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27646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84">
          <p15:clr>
            <a:srgbClr val="FBAE40"/>
          </p15:clr>
        </p15:guide>
        <p15:guide id="2" pos="960">
          <p15:clr>
            <a:srgbClr val="FBAE40"/>
          </p15:clr>
        </p15:guide>
        <p15:guide id="3" pos="2389">
          <p15:clr>
            <a:srgbClr val="FBAE40"/>
          </p15:clr>
        </p15:guide>
        <p15:guide id="4" pos="3341">
          <p15:clr>
            <a:srgbClr val="FBAE40"/>
          </p15:clr>
        </p15:guide>
        <p15:guide id="5" pos="2479">
          <p15:clr>
            <a:srgbClr val="FBAE40"/>
          </p15:clr>
        </p15:guide>
        <p15:guide id="6" pos="3432">
          <p15:clr>
            <a:srgbClr val="FBAE40"/>
          </p15:clr>
        </p15:guide>
        <p15:guide id="7" pos="6244">
          <p15:clr>
            <a:srgbClr val="FBAE40"/>
          </p15:clr>
        </p15:guide>
        <p15:guide id="8" pos="7242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1525">
          <p15:clr>
            <a:srgbClr val="FBAE40"/>
          </p15:clr>
        </p15:guide>
        <p15:guide id="12">
          <p15:clr>
            <a:srgbClr val="FBAE40"/>
          </p15:clr>
        </p15:guide>
        <p15:guide id="13" pos="7680">
          <p15:clr>
            <a:srgbClr val="FBAE40"/>
          </p15:clr>
        </p15:guide>
        <p15:guide id="14" orient="horz">
          <p15:clr>
            <a:srgbClr val="FBAE40"/>
          </p15:clr>
        </p15:guide>
        <p15:guide id="15" orient="horz" pos="431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AE6E7A4-2FED-420A-BA3F-5F5A55178F7F}"/>
              </a:ext>
            </a:extLst>
          </p:cNvPr>
          <p:cNvSpPr/>
          <p:nvPr userDrawn="1"/>
        </p:nvSpPr>
        <p:spPr bwMode="auto">
          <a:xfrm>
            <a:off x="0" y="0"/>
            <a:ext cx="12201727" cy="6858000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9A6B0E9C-2D53-4EE5-951E-A87827B5E49F}"/>
              </a:ext>
            </a:extLst>
          </p:cNvPr>
          <p:cNvSpPr/>
          <p:nvPr userDrawn="1"/>
        </p:nvSpPr>
        <p:spPr bwMode="auto">
          <a:xfrm>
            <a:off x="0" y="0"/>
            <a:ext cx="6486258" cy="5956419"/>
          </a:xfrm>
          <a:custGeom>
            <a:avLst/>
            <a:gdLst>
              <a:gd name="connsiteX0" fmla="*/ 0 w 6486258"/>
              <a:gd name="connsiteY0" fmla="*/ 0 h 5956419"/>
              <a:gd name="connsiteX1" fmla="*/ 0 w 6486258"/>
              <a:gd name="connsiteY1" fmla="*/ 3879791 h 5956419"/>
              <a:gd name="connsiteX2" fmla="*/ 2110811 w 6486258"/>
              <a:gd name="connsiteY2" fmla="*/ 5956419 h 5956419"/>
              <a:gd name="connsiteX3" fmla="*/ 6486258 w 6486258"/>
              <a:gd name="connsiteY3" fmla="*/ 5956419 h 5956419"/>
              <a:gd name="connsiteX4" fmla="*/ 6486258 w 6486258"/>
              <a:gd name="connsiteY4" fmla="*/ 1768979 h 5956419"/>
              <a:gd name="connsiteX5" fmla="*/ 4725824 w 6486258"/>
              <a:gd name="connsiteY5" fmla="*/ 0 h 5956419"/>
              <a:gd name="connsiteX6" fmla="*/ 0 w 6486258"/>
              <a:gd name="connsiteY6" fmla="*/ 0 h 5956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6258" h="5956419">
                <a:moveTo>
                  <a:pt x="0" y="0"/>
                </a:moveTo>
                <a:lnTo>
                  <a:pt x="0" y="3879791"/>
                </a:lnTo>
                <a:lnTo>
                  <a:pt x="2110811" y="5956419"/>
                </a:lnTo>
                <a:lnTo>
                  <a:pt x="6486258" y="5956419"/>
                </a:lnTo>
                <a:lnTo>
                  <a:pt x="6486258" y="1768979"/>
                </a:lnTo>
                <a:lnTo>
                  <a:pt x="4725824" y="0"/>
                </a:lnTo>
                <a:lnTo>
                  <a:pt x="0" y="0"/>
                </a:lnTo>
                <a:close/>
              </a:path>
            </a:pathLst>
          </a:custGeom>
          <a:solidFill>
            <a:srgbClr val="E6788C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97F261CF-FAA5-4056-B6A6-DD4182B70DDA}"/>
              </a:ext>
            </a:extLst>
          </p:cNvPr>
          <p:cNvSpPr/>
          <p:nvPr userDrawn="1"/>
        </p:nvSpPr>
        <p:spPr bwMode="auto">
          <a:xfrm>
            <a:off x="0" y="0"/>
            <a:ext cx="3683237" cy="3338331"/>
          </a:xfrm>
          <a:custGeom>
            <a:avLst/>
            <a:gdLst>
              <a:gd name="connsiteX0" fmla="*/ 3683237 w 3683237"/>
              <a:gd name="connsiteY0" fmla="*/ 3332860 h 3332860"/>
              <a:gd name="connsiteX1" fmla="*/ 3683237 w 3683237"/>
              <a:gd name="connsiteY1" fmla="*/ 1093862 h 3332860"/>
              <a:gd name="connsiteX2" fmla="*/ 2606467 w 3683237"/>
              <a:gd name="connsiteY2" fmla="*/ 0 h 3332860"/>
              <a:gd name="connsiteX3" fmla="*/ 0 w 3683237"/>
              <a:gd name="connsiteY3" fmla="*/ 0 h 3332860"/>
              <a:gd name="connsiteX4" fmla="*/ 0 w 3683237"/>
              <a:gd name="connsiteY4" fmla="*/ 1862983 h 3332860"/>
              <a:gd name="connsiteX5" fmla="*/ 1444239 w 3683237"/>
              <a:gd name="connsiteY5" fmla="*/ 3324314 h 3332860"/>
              <a:gd name="connsiteX6" fmla="*/ 3683237 w 3683237"/>
              <a:gd name="connsiteY6" fmla="*/ 3332860 h 3332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83237" h="3332860">
                <a:moveTo>
                  <a:pt x="3683237" y="3332860"/>
                </a:moveTo>
                <a:lnTo>
                  <a:pt x="3683237" y="1093862"/>
                </a:lnTo>
                <a:lnTo>
                  <a:pt x="2606467" y="0"/>
                </a:lnTo>
                <a:lnTo>
                  <a:pt x="0" y="0"/>
                </a:lnTo>
                <a:lnTo>
                  <a:pt x="0" y="1862983"/>
                </a:lnTo>
                <a:lnTo>
                  <a:pt x="1444239" y="3324314"/>
                </a:lnTo>
                <a:lnTo>
                  <a:pt x="3683237" y="3332860"/>
                </a:lnTo>
                <a:close/>
              </a:path>
            </a:pathLst>
          </a:custGeom>
          <a:solidFill>
            <a:srgbClr val="E6505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54082" y="1508597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306568" y="3548064"/>
            <a:ext cx="9000000" cy="126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8265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89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orient="horz" pos="1185">
          <p15:clr>
            <a:srgbClr val="FBAE40"/>
          </p15:clr>
        </p15:guide>
        <p15:guide id="7" orient="horz" pos="2092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3748">
          <p15:clr>
            <a:srgbClr val="FBAE40"/>
          </p15:clr>
        </p15:guide>
        <p15:guide id="10" pos="7680">
          <p15:clr>
            <a:srgbClr val="FBAE40"/>
          </p15:clr>
        </p15:guide>
        <p15:guide id="11" pos="7">
          <p15:clr>
            <a:srgbClr val="FBAE40"/>
          </p15:clr>
        </p15:guide>
        <p15:guide id="12" pos="914">
          <p15:clr>
            <a:srgbClr val="FBAE40"/>
          </p15:clr>
        </p15:guide>
        <p15:guide id="13" pos="2320">
          <p15:clr>
            <a:srgbClr val="FBAE40"/>
          </p15:clr>
        </p15:guide>
        <p15:guide id="14" pos="1323">
          <p15:clr>
            <a:srgbClr val="FBAE40"/>
          </p15:clr>
        </p15:guide>
        <p15:guide id="15" pos="1640">
          <p15:clr>
            <a:srgbClr val="FBAE40"/>
          </p15:clr>
        </p15:guide>
        <p15:guide id="16" pos="2978">
          <p15:clr>
            <a:srgbClr val="FBAE40"/>
          </p15:clr>
        </p15:guide>
        <p15:guide id="17" orient="horz" pos="245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40F1C34-0B97-46B5-B609-425D914EDBA6}"/>
              </a:ext>
            </a:extLst>
          </p:cNvPr>
          <p:cNvSpPr/>
          <p:nvPr userDrawn="1"/>
        </p:nvSpPr>
        <p:spPr bwMode="auto">
          <a:xfrm>
            <a:off x="-6071" y="0"/>
            <a:ext cx="12192000" cy="6858000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 dirty="0"/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F694DD8B-B82B-4B67-9164-13DF0B418B38}"/>
              </a:ext>
            </a:extLst>
          </p:cNvPr>
          <p:cNvSpPr/>
          <p:nvPr userDrawn="1"/>
        </p:nvSpPr>
        <p:spPr bwMode="auto">
          <a:xfrm>
            <a:off x="-18213" y="981182"/>
            <a:ext cx="5878686" cy="5876818"/>
          </a:xfrm>
          <a:custGeom>
            <a:avLst/>
            <a:gdLst>
              <a:gd name="connsiteX0" fmla="*/ 0 w 5866544"/>
              <a:gd name="connsiteY0" fmla="*/ 5876818 h 5876818"/>
              <a:gd name="connsiteX1" fmla="*/ 4356243 w 5866544"/>
              <a:gd name="connsiteY1" fmla="*/ 5876818 h 5876818"/>
              <a:gd name="connsiteX2" fmla="*/ 5866544 w 5866544"/>
              <a:gd name="connsiteY2" fmla="*/ 4345968 h 5876818"/>
              <a:gd name="connsiteX3" fmla="*/ 5866544 w 5866544"/>
              <a:gd name="connsiteY3" fmla="*/ 0 h 5876818"/>
              <a:gd name="connsiteX4" fmla="*/ 1510301 w 5866544"/>
              <a:gd name="connsiteY4" fmla="*/ 0 h 5876818"/>
              <a:gd name="connsiteX5" fmla="*/ 10274 w 5866544"/>
              <a:gd name="connsiteY5" fmla="*/ 1541124 h 5876818"/>
              <a:gd name="connsiteX6" fmla="*/ 0 w 5866544"/>
              <a:gd name="connsiteY6" fmla="*/ 5876818 h 587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6544" h="5876818">
                <a:moveTo>
                  <a:pt x="0" y="5876818"/>
                </a:moveTo>
                <a:lnTo>
                  <a:pt x="4356243" y="5876818"/>
                </a:lnTo>
                <a:lnTo>
                  <a:pt x="5866544" y="4345968"/>
                </a:lnTo>
                <a:lnTo>
                  <a:pt x="5866544" y="0"/>
                </a:lnTo>
                <a:lnTo>
                  <a:pt x="1510301" y="0"/>
                </a:lnTo>
                <a:lnTo>
                  <a:pt x="10274" y="1541124"/>
                </a:lnTo>
                <a:cubicBezTo>
                  <a:pt x="6849" y="2986355"/>
                  <a:pt x="3425" y="4431587"/>
                  <a:pt x="0" y="5876818"/>
                </a:cubicBezTo>
                <a:close/>
              </a:path>
            </a:pathLst>
          </a:custGeom>
          <a:solidFill>
            <a:srgbClr val="8C2896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2" name="Forme libre : forme 11">
            <a:extLst>
              <a:ext uri="{FF2B5EF4-FFF2-40B4-BE49-F238E27FC236}">
                <a16:creationId xmlns:a16="http://schemas.microsoft.com/office/drawing/2014/main" id="{D6DB14C6-1836-422B-B7B5-F736BA9FD2BA}"/>
              </a:ext>
            </a:extLst>
          </p:cNvPr>
          <p:cNvSpPr/>
          <p:nvPr userDrawn="1"/>
        </p:nvSpPr>
        <p:spPr bwMode="auto">
          <a:xfrm>
            <a:off x="826136" y="972766"/>
            <a:ext cx="5034337" cy="5003515"/>
          </a:xfrm>
          <a:custGeom>
            <a:avLst/>
            <a:gdLst>
              <a:gd name="connsiteX0" fmla="*/ 0 w 5034337"/>
              <a:gd name="connsiteY0" fmla="*/ 5003515 h 5003515"/>
              <a:gd name="connsiteX1" fmla="*/ 2250040 w 5034337"/>
              <a:gd name="connsiteY1" fmla="*/ 5003515 h 5003515"/>
              <a:gd name="connsiteX2" fmla="*/ 5034337 w 5034337"/>
              <a:gd name="connsiteY2" fmla="*/ 2229492 h 5003515"/>
              <a:gd name="connsiteX3" fmla="*/ 5034337 w 5034337"/>
              <a:gd name="connsiteY3" fmla="*/ 0 h 5003515"/>
              <a:gd name="connsiteX4" fmla="*/ 2774022 w 5034337"/>
              <a:gd name="connsiteY4" fmla="*/ 0 h 5003515"/>
              <a:gd name="connsiteX5" fmla="*/ 10274 w 5034337"/>
              <a:gd name="connsiteY5" fmla="*/ 2763748 h 5003515"/>
              <a:gd name="connsiteX6" fmla="*/ 0 w 5034337"/>
              <a:gd name="connsiteY6" fmla="*/ 5003515 h 5003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337" h="5003515">
                <a:moveTo>
                  <a:pt x="0" y="5003515"/>
                </a:moveTo>
                <a:lnTo>
                  <a:pt x="2250040" y="5003515"/>
                </a:lnTo>
                <a:lnTo>
                  <a:pt x="5034337" y="2229492"/>
                </a:lnTo>
                <a:lnTo>
                  <a:pt x="5034337" y="0"/>
                </a:lnTo>
                <a:lnTo>
                  <a:pt x="2774022" y="0"/>
                </a:lnTo>
                <a:lnTo>
                  <a:pt x="10274" y="2763748"/>
                </a:lnTo>
                <a:cubicBezTo>
                  <a:pt x="6849" y="3510337"/>
                  <a:pt x="3425" y="4256926"/>
                  <a:pt x="0" y="5003515"/>
                </a:cubicBezTo>
                <a:close/>
              </a:path>
            </a:pathLst>
          </a:custGeom>
          <a:solidFill>
            <a:srgbClr val="82D2F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24318" y="1484781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324316" y="2814635"/>
            <a:ext cx="5580000" cy="198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7197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  <p15:guide id="2" pos="3704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2024">
          <p15:clr>
            <a:srgbClr val="FBAE40"/>
          </p15:clr>
        </p15:guide>
        <p15:guide id="6" orient="horz" pos="2364">
          <p15:clr>
            <a:srgbClr val="FBAE40"/>
          </p15:clr>
        </p15:guide>
        <p15:guide id="7" orient="horz" pos="3362">
          <p15:clr>
            <a:srgbClr val="FBAE40"/>
          </p15:clr>
        </p15:guide>
        <p15:guide id="8" orient="horz" pos="3770">
          <p15:clr>
            <a:srgbClr val="FBAE40"/>
          </p15:clr>
        </p15:guide>
        <p15:guide id="9" pos="2275">
          <p15:clr>
            <a:srgbClr val="FBAE40"/>
          </p15:clr>
        </p15:guide>
        <p15:guide id="10" pos="1958">
          <p15:clr>
            <a:srgbClr val="FBAE40"/>
          </p15:clr>
        </p15:guide>
        <p15:guide id="11" pos="937">
          <p15:clr>
            <a:srgbClr val="FBAE40"/>
          </p15:clr>
        </p15:guide>
        <p15:guide id="12" pos="529">
          <p15:clr>
            <a:srgbClr val="FBAE40"/>
          </p15:clr>
        </p15:guide>
        <p15:guide id="13">
          <p15:clr>
            <a:srgbClr val="FBAE40"/>
          </p15:clr>
        </p15:guide>
        <p15:guide id="14" pos="7673">
          <p15:clr>
            <a:srgbClr val="FBAE40"/>
          </p15:clr>
        </p15:guide>
        <p15:guide id="15" pos="2729">
          <p15:clr>
            <a:srgbClr val="FBAE40"/>
          </p15:clr>
        </p15:guide>
        <p15:guide id="16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0867E6-D707-47FF-A7FD-262657276ED8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 dirty="0"/>
          </a:p>
        </p:txBody>
      </p:sp>
      <p:sp>
        <p:nvSpPr>
          <p:cNvPr id="4" name="Forme libre : forme 3">
            <a:extLst>
              <a:ext uri="{FF2B5EF4-FFF2-40B4-BE49-F238E27FC236}">
                <a16:creationId xmlns:a16="http://schemas.microsoft.com/office/drawing/2014/main" id="{36C2E4F0-A03B-4521-A286-6E4C3CB43B5F}"/>
              </a:ext>
            </a:extLst>
          </p:cNvPr>
          <p:cNvSpPr/>
          <p:nvPr userDrawn="1"/>
        </p:nvSpPr>
        <p:spPr bwMode="auto">
          <a:xfrm>
            <a:off x="800100" y="752475"/>
            <a:ext cx="5067300" cy="5076825"/>
          </a:xfrm>
          <a:custGeom>
            <a:avLst/>
            <a:gdLst>
              <a:gd name="connsiteX0" fmla="*/ 0 w 5067300"/>
              <a:gd name="connsiteY0" fmla="*/ 0 h 5076825"/>
              <a:gd name="connsiteX1" fmla="*/ 2276475 w 5067300"/>
              <a:gd name="connsiteY1" fmla="*/ 0 h 5076825"/>
              <a:gd name="connsiteX2" fmla="*/ 5067300 w 5067300"/>
              <a:gd name="connsiteY2" fmla="*/ 2790825 h 5076825"/>
              <a:gd name="connsiteX3" fmla="*/ 5067300 w 5067300"/>
              <a:gd name="connsiteY3" fmla="*/ 5057775 h 5076825"/>
              <a:gd name="connsiteX4" fmla="*/ 2781300 w 5067300"/>
              <a:gd name="connsiteY4" fmla="*/ 5076825 h 5076825"/>
              <a:gd name="connsiteX5" fmla="*/ 19050 w 5067300"/>
              <a:gd name="connsiteY5" fmla="*/ 2295525 h 5076825"/>
              <a:gd name="connsiteX6" fmla="*/ 0 w 5067300"/>
              <a:gd name="connsiteY6" fmla="*/ 0 h 507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67300" h="5076825">
                <a:moveTo>
                  <a:pt x="0" y="0"/>
                </a:moveTo>
                <a:lnTo>
                  <a:pt x="2276475" y="0"/>
                </a:lnTo>
                <a:lnTo>
                  <a:pt x="5067300" y="2790825"/>
                </a:lnTo>
                <a:lnTo>
                  <a:pt x="5067300" y="5057775"/>
                </a:lnTo>
                <a:lnTo>
                  <a:pt x="2781300" y="5076825"/>
                </a:lnTo>
                <a:lnTo>
                  <a:pt x="19050" y="2295525"/>
                </a:lnTo>
                <a:lnTo>
                  <a:pt x="0" y="0"/>
                </a:lnTo>
                <a:close/>
              </a:path>
            </a:pathLst>
          </a:custGeom>
          <a:solidFill>
            <a:srgbClr val="00AFA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60B736DF-D889-4351-9D10-5550BF554D5B}"/>
              </a:ext>
            </a:extLst>
          </p:cNvPr>
          <p:cNvSpPr/>
          <p:nvPr userDrawn="1"/>
        </p:nvSpPr>
        <p:spPr bwMode="auto">
          <a:xfrm>
            <a:off x="800099" y="752475"/>
            <a:ext cx="11106151" cy="6105525"/>
          </a:xfrm>
          <a:custGeom>
            <a:avLst/>
            <a:gdLst>
              <a:gd name="connsiteX0" fmla="*/ 0 w 11106150"/>
              <a:gd name="connsiteY0" fmla="*/ 0 h 6105525"/>
              <a:gd name="connsiteX1" fmla="*/ 0 w 11106150"/>
              <a:gd name="connsiteY1" fmla="*/ 5029200 h 6105525"/>
              <a:gd name="connsiteX2" fmla="*/ 1076325 w 11106150"/>
              <a:gd name="connsiteY2" fmla="*/ 6105525 h 6105525"/>
              <a:gd name="connsiteX3" fmla="*/ 11106150 w 11106150"/>
              <a:gd name="connsiteY3" fmla="*/ 6105525 h 6105525"/>
              <a:gd name="connsiteX4" fmla="*/ 5029200 w 11106150"/>
              <a:gd name="connsiteY4" fmla="*/ 9525 h 6105525"/>
              <a:gd name="connsiteX5" fmla="*/ 0 w 11106150"/>
              <a:gd name="connsiteY5" fmla="*/ 0 h 6105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106150" h="6105525">
                <a:moveTo>
                  <a:pt x="0" y="0"/>
                </a:moveTo>
                <a:lnTo>
                  <a:pt x="0" y="5029200"/>
                </a:lnTo>
                <a:lnTo>
                  <a:pt x="1076325" y="6105525"/>
                </a:lnTo>
                <a:lnTo>
                  <a:pt x="11106150" y="6105525"/>
                </a:lnTo>
                <a:lnTo>
                  <a:pt x="5029200" y="9525"/>
                </a:lnTo>
                <a:lnTo>
                  <a:pt x="0" y="0"/>
                </a:lnTo>
                <a:close/>
              </a:path>
            </a:pathLst>
          </a:custGeom>
          <a:solidFill>
            <a:srgbClr val="E6788C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3C58A7-2FE8-406A-8255-7E29F52236D6}"/>
              </a:ext>
            </a:extLst>
          </p:cNvPr>
          <p:cNvSpPr/>
          <p:nvPr userDrawn="1"/>
        </p:nvSpPr>
        <p:spPr bwMode="auto">
          <a:xfrm>
            <a:off x="800099" y="752475"/>
            <a:ext cx="5048250" cy="5057775"/>
          </a:xfrm>
          <a:custGeom>
            <a:avLst/>
            <a:gdLst>
              <a:gd name="connsiteX0" fmla="*/ 5048250 w 5048250"/>
              <a:gd name="connsiteY0" fmla="*/ 5057775 h 5057775"/>
              <a:gd name="connsiteX1" fmla="*/ 5048250 w 5048250"/>
              <a:gd name="connsiteY1" fmla="*/ 2790825 h 5057775"/>
              <a:gd name="connsiteX2" fmla="*/ 2276475 w 5048250"/>
              <a:gd name="connsiteY2" fmla="*/ 0 h 5057775"/>
              <a:gd name="connsiteX3" fmla="*/ 0 w 5048250"/>
              <a:gd name="connsiteY3" fmla="*/ 0 h 5057775"/>
              <a:gd name="connsiteX4" fmla="*/ 0 w 5048250"/>
              <a:gd name="connsiteY4" fmla="*/ 2276475 h 5057775"/>
              <a:gd name="connsiteX5" fmla="*/ 2790825 w 5048250"/>
              <a:gd name="connsiteY5" fmla="*/ 5057775 h 5057775"/>
              <a:gd name="connsiteX6" fmla="*/ 5048250 w 5048250"/>
              <a:gd name="connsiteY6" fmla="*/ 5057775 h 505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48250" h="5057775">
                <a:moveTo>
                  <a:pt x="5048250" y="5057775"/>
                </a:moveTo>
                <a:lnTo>
                  <a:pt x="5048250" y="2790825"/>
                </a:lnTo>
                <a:lnTo>
                  <a:pt x="2276475" y="0"/>
                </a:lnTo>
                <a:lnTo>
                  <a:pt x="0" y="0"/>
                </a:lnTo>
                <a:lnTo>
                  <a:pt x="0" y="2276475"/>
                </a:lnTo>
                <a:lnTo>
                  <a:pt x="2790825" y="5057775"/>
                </a:lnTo>
                <a:lnTo>
                  <a:pt x="5048250" y="5057775"/>
                </a:lnTo>
                <a:close/>
              </a:path>
            </a:pathLst>
          </a:custGeom>
          <a:solidFill>
            <a:srgbClr val="00AFA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193098" y="1120451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5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193097" y="2486024"/>
            <a:ext cx="9360000" cy="126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0335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459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1911">
          <p15:clr>
            <a:srgbClr val="FBAE40"/>
          </p15:clr>
        </p15:guide>
        <p15:guide id="5" orient="horz" pos="2228">
          <p15:clr>
            <a:srgbClr val="FBAE40"/>
          </p15:clr>
        </p15:guide>
        <p15:guide id="6" orient="horz" pos="3657">
          <p15:clr>
            <a:srgbClr val="FBAE40"/>
          </p15:clr>
        </p15:guide>
        <p15:guide id="8" pos="3681">
          <p15:clr>
            <a:srgbClr val="FBAE40"/>
          </p15:clr>
        </p15:guide>
        <p15:guide id="9" pos="2252">
          <p15:clr>
            <a:srgbClr val="FBAE40"/>
          </p15:clr>
        </p15:guide>
        <p15:guide id="10" pos="1935">
          <p15:clr>
            <a:srgbClr val="FBAE40"/>
          </p15:clr>
        </p15:guide>
        <p15:guide id="11" pos="506">
          <p15:clr>
            <a:srgbClr val="FBAE40"/>
          </p15:clr>
        </p15:guide>
        <p15:guide id="12" pos="7">
          <p15:clr>
            <a:srgbClr val="FBAE40"/>
          </p15:clr>
        </p15:guide>
        <p15:guide id="13" pos="7491">
          <p15:clr>
            <a:srgbClr val="FBAE40"/>
          </p15:clr>
        </p15:guide>
        <p15:guide id="14" pos="1186">
          <p15:clr>
            <a:srgbClr val="FBAE40"/>
          </p15:clr>
        </p15:guide>
        <p15:guide id="15" pos="76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verture de chapitre N°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39BD6E9-CC6E-4563-BB47-910F7FD89DA9}"/>
              </a:ext>
            </a:extLst>
          </p:cNvPr>
          <p:cNvSpPr/>
          <p:nvPr userDrawn="1"/>
        </p:nvSpPr>
        <p:spPr bwMode="auto">
          <a:xfrm>
            <a:off x="11113" y="0"/>
            <a:ext cx="12169775" cy="6858000"/>
          </a:xfrm>
          <a:prstGeom prst="rect">
            <a:avLst/>
          </a:prstGeom>
          <a:solidFill>
            <a:srgbClr val="B4A9C7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8" name="Forme libre : forme 7">
            <a:extLst>
              <a:ext uri="{FF2B5EF4-FFF2-40B4-BE49-F238E27FC236}">
                <a16:creationId xmlns:a16="http://schemas.microsoft.com/office/drawing/2014/main" id="{9D5A9764-F639-4251-B860-5741CFDEBC6B}"/>
              </a:ext>
            </a:extLst>
          </p:cNvPr>
          <p:cNvSpPr/>
          <p:nvPr userDrawn="1"/>
        </p:nvSpPr>
        <p:spPr bwMode="auto">
          <a:xfrm>
            <a:off x="1975644" y="-14645"/>
            <a:ext cx="8629650" cy="4824413"/>
          </a:xfrm>
          <a:custGeom>
            <a:avLst/>
            <a:gdLst>
              <a:gd name="connsiteX0" fmla="*/ 0 w 8629650"/>
              <a:gd name="connsiteY0" fmla="*/ 4819650 h 4829175"/>
              <a:gd name="connsiteX1" fmla="*/ 3771900 w 8629650"/>
              <a:gd name="connsiteY1" fmla="*/ 4829175 h 4829175"/>
              <a:gd name="connsiteX2" fmla="*/ 8629650 w 8629650"/>
              <a:gd name="connsiteY2" fmla="*/ 0 h 4829175"/>
              <a:gd name="connsiteX3" fmla="*/ 1066800 w 8629650"/>
              <a:gd name="connsiteY3" fmla="*/ 9525 h 4829175"/>
              <a:gd name="connsiteX4" fmla="*/ 9525 w 8629650"/>
              <a:gd name="connsiteY4" fmla="*/ 1057275 h 4829175"/>
              <a:gd name="connsiteX5" fmla="*/ 0 w 8629650"/>
              <a:gd name="connsiteY5" fmla="*/ 4819650 h 4829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29650" h="4829175">
                <a:moveTo>
                  <a:pt x="0" y="4819650"/>
                </a:moveTo>
                <a:lnTo>
                  <a:pt x="3771900" y="4829175"/>
                </a:lnTo>
                <a:lnTo>
                  <a:pt x="8629650" y="0"/>
                </a:lnTo>
                <a:lnTo>
                  <a:pt x="1066800" y="9525"/>
                </a:lnTo>
                <a:lnTo>
                  <a:pt x="9525" y="1057275"/>
                </a:lnTo>
                <a:lnTo>
                  <a:pt x="0" y="4819650"/>
                </a:lnTo>
                <a:close/>
              </a:path>
            </a:pathLst>
          </a:custGeom>
          <a:solidFill>
            <a:srgbClr val="E6505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AAB873A7-F61E-4364-912D-D3F17CD34061}"/>
              </a:ext>
            </a:extLst>
          </p:cNvPr>
          <p:cNvSpPr/>
          <p:nvPr userDrawn="1"/>
        </p:nvSpPr>
        <p:spPr bwMode="auto">
          <a:xfrm>
            <a:off x="1971675" y="-14645"/>
            <a:ext cx="7058025" cy="4824770"/>
          </a:xfrm>
          <a:custGeom>
            <a:avLst/>
            <a:gdLst>
              <a:gd name="connsiteX0" fmla="*/ 0 w 7058025"/>
              <a:gd name="connsiteY0" fmla="*/ 4819650 h 4819650"/>
              <a:gd name="connsiteX1" fmla="*/ 0 w 7058025"/>
              <a:gd name="connsiteY1" fmla="*/ 2590800 h 4819650"/>
              <a:gd name="connsiteX2" fmla="*/ 2562225 w 7058025"/>
              <a:gd name="connsiteY2" fmla="*/ 0 h 4819650"/>
              <a:gd name="connsiteX3" fmla="*/ 7058025 w 7058025"/>
              <a:gd name="connsiteY3" fmla="*/ 0 h 4819650"/>
              <a:gd name="connsiteX4" fmla="*/ 2247900 w 7058025"/>
              <a:gd name="connsiteY4" fmla="*/ 4819650 h 4819650"/>
              <a:gd name="connsiteX5" fmla="*/ 0 w 7058025"/>
              <a:gd name="connsiteY5" fmla="*/ 4819650 h 481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58025" h="4819650">
                <a:moveTo>
                  <a:pt x="0" y="4819650"/>
                </a:moveTo>
                <a:lnTo>
                  <a:pt x="0" y="2590800"/>
                </a:lnTo>
                <a:lnTo>
                  <a:pt x="2562225" y="0"/>
                </a:lnTo>
                <a:lnTo>
                  <a:pt x="7058025" y="0"/>
                </a:lnTo>
                <a:lnTo>
                  <a:pt x="2247900" y="4819650"/>
                </a:lnTo>
                <a:lnTo>
                  <a:pt x="0" y="4819650"/>
                </a:lnTo>
                <a:close/>
              </a:path>
            </a:pathLst>
          </a:custGeom>
          <a:solidFill>
            <a:srgbClr val="73C8A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04199" y="1968175"/>
            <a:ext cx="2700000" cy="1620000"/>
          </a:xfrm>
        </p:spPr>
        <p:txBody>
          <a:bodyPr anchor="ctr"/>
          <a:lstStyle>
            <a:lvl1pPr algn="l">
              <a:defRPr sz="12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6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04199" y="3393281"/>
            <a:ext cx="9000000" cy="1260000"/>
          </a:xfrm>
        </p:spPr>
        <p:txBody>
          <a:bodyPr anchor="t"/>
          <a:lstStyle>
            <a:lvl1pPr marL="0" indent="0" algn="l">
              <a:buNone/>
              <a:defRPr sz="35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57183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pos="1232">
          <p15:clr>
            <a:srgbClr val="FBAE40"/>
          </p15:clr>
        </p15:guide>
        <p15:guide id="3" pos="3613">
          <p15:clr>
            <a:srgbClr val="FBAE40"/>
          </p15:clr>
        </p15:guide>
        <p15:guide id="4" orient="horz" pos="3022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>
          <p15:clr>
            <a:srgbClr val="FBAE40"/>
          </p15:clr>
        </p15:guide>
        <p15:guide id="7" pos="1912">
          <p15:clr>
            <a:srgbClr val="FBAE40"/>
          </p15:clr>
        </p15:guide>
        <p15:guide id="8" pos="2842">
          <p15:clr>
            <a:srgbClr val="FBAE40"/>
          </p15:clr>
        </p15:guide>
        <p15:guide id="9" pos="2661">
          <p15:clr>
            <a:srgbClr val="FBAE40"/>
          </p15:clr>
        </p15:guide>
        <p15:guide id="10" pos="5677">
          <p15:clr>
            <a:srgbClr val="FBAE40"/>
          </p15:clr>
        </p15:guide>
        <p15:guide id="11" pos="6652">
          <p15:clr>
            <a:srgbClr val="FBAE40"/>
          </p15:clr>
        </p15:guide>
        <p15:guide id="12" pos="7673">
          <p15:clr>
            <a:srgbClr val="FBAE40"/>
          </p15:clr>
        </p15:guide>
        <p15:guide id="13" orient="horz" pos="4320">
          <p15:clr>
            <a:srgbClr val="FBAE40"/>
          </p15:clr>
        </p15:guide>
        <p15:guide id="14" pos="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F53F01-EAD4-5D97-F8D5-25FF40C6C5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8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F53F01-EAD4-5D97-F8D5-25FF40C6C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BF3A9F-5739-4B40-A377-C403E92DB7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2398" y="1040609"/>
            <a:ext cx="10439144" cy="360000"/>
          </a:xfrm>
        </p:spPr>
        <p:txBody>
          <a:bodyPr anchor="t"/>
          <a:lstStyle>
            <a:lvl1pPr marL="0" indent="0">
              <a:buNone/>
              <a:defRPr sz="1800" b="1" i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596DFC-B64C-4499-8A7A-2A7002FDFA77}" type="datetime1">
              <a:rPr lang="fr-FR" smtClean="0"/>
              <a:t>15/04/2025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ate et titre de votre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E748F74-A8DF-40EA-847A-446CF8437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CFE0740-652B-4091-9D56-903E4940F6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2399" y="570228"/>
            <a:ext cx="10439144" cy="468000"/>
          </a:xfrm>
        </p:spPr>
        <p:txBody>
          <a:bodyPr vert="horz"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B5FB203-AE81-4A98-AA92-313B689FDD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2399" y="1929771"/>
            <a:ext cx="10439143" cy="3960000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spcBef>
                <a:spcPts val="300"/>
              </a:spcBef>
              <a:defRPr sz="1400"/>
            </a:lvl2pPr>
            <a:lvl3pPr>
              <a:lnSpc>
                <a:spcPct val="120000"/>
              </a:lnSpc>
              <a:spcBef>
                <a:spcPts val="1300"/>
              </a:spcBef>
              <a:defRPr sz="1400"/>
            </a:lvl3pPr>
            <a:lvl4pPr>
              <a:lnSpc>
                <a:spcPct val="120000"/>
              </a:lnSpc>
              <a:defRPr sz="1400"/>
            </a:lvl4pPr>
            <a:lvl5pPr>
              <a:lnSpc>
                <a:spcPct val="120000"/>
              </a:lnSpc>
              <a:defRPr sz="14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41416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FBE556B-819D-1442-6634-EBDF1F8D64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1991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FBE556B-819D-1442-6634-EBDF1F8D64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1544" y="570228"/>
            <a:ext cx="10440000" cy="468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1544" y="1951831"/>
            <a:ext cx="10440000" cy="39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58657" y="6400800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750" b="1">
                <a:solidFill>
                  <a:schemeClr val="tx1"/>
                </a:solidFill>
              </a:defRPr>
            </a:lvl1pPr>
          </a:lstStyle>
          <a:p>
            <a:fld id="{287AA89D-6C8C-4400-8105-7EAF7F5A49FF}" type="datetime1">
              <a:rPr lang="fr-FR" smtClean="0"/>
              <a:t>15/04/2025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44557" y="6400800"/>
            <a:ext cx="36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100000"/>
              </a:lnSpc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/>
              <a:t>Date et titre de votre présentation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3716" y="6372224"/>
            <a:ext cx="540000" cy="2805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100000"/>
              </a:lnSpc>
              <a:defRPr sz="1050" b="1"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971D1A00-F529-45FB-8C93-60495828C4EF}"/>
              </a:ext>
            </a:extLst>
          </p:cNvPr>
          <p:cNvCxnSpPr/>
          <p:nvPr userDrawn="1"/>
        </p:nvCxnSpPr>
        <p:spPr>
          <a:xfrm>
            <a:off x="1047750" y="6205540"/>
            <a:ext cx="10098000" cy="0"/>
          </a:xfrm>
          <a:prstGeom prst="line">
            <a:avLst/>
          </a:prstGeom>
          <a:ln w="25400">
            <a:solidFill>
              <a:srgbClr val="F01E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01A8DA22-622A-4244-A053-9CD3763E5A8F}"/>
              </a:ext>
            </a:extLst>
          </p:cNvPr>
          <p:cNvSpPr txBox="1"/>
          <p:nvPr userDrawn="1"/>
        </p:nvSpPr>
        <p:spPr>
          <a:xfrm>
            <a:off x="947738" y="6370638"/>
            <a:ext cx="28919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/>
              <a:t>Banque des Territoires / Manufactur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B2A6540-D437-46AD-92FB-42F1FB2D7E7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079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fr-FR" sz="100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2077320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i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3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180000" algn="l" defTabSz="914400" rtl="0" eaLnBrk="1" latinLnBrk="0" hangingPunct="1">
        <a:lnSpc>
          <a:spcPct val="100000"/>
        </a:lnSpc>
        <a:spcBef>
          <a:spcPts val="1700"/>
        </a:spcBef>
        <a:buClr>
          <a:schemeClr val="tx1"/>
        </a:buClr>
        <a:buFont typeface="+mj-lt"/>
        <a:buAutoNum type="arabicPeriod"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306000" indent="-108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396000" indent="-108000" algn="l" defTabSz="914400" rtl="0" eaLnBrk="1" latinLnBrk="0" hangingPunct="1">
        <a:lnSpc>
          <a:spcPct val="100000"/>
        </a:lnSpc>
        <a:spcBef>
          <a:spcPts val="800"/>
        </a:spcBef>
        <a:buFont typeface="Calibri" panose="020F0502020204030204" pitchFamily="34" charset="0"/>
        <a:buChar char="‐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1A7E5C4-C270-06E2-835E-2F66E0C3CC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1A7E5C4-C270-06E2-835E-2F66E0C3C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98DD9DCB-0519-2D6E-9239-78184855E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052" y="114427"/>
            <a:ext cx="10439144" cy="468000"/>
          </a:xfrm>
        </p:spPr>
        <p:txBody>
          <a:bodyPr vert="horz"/>
          <a:lstStyle/>
          <a:p>
            <a:pPr algn="just"/>
            <a:r>
              <a:rPr lang="fr-FR" sz="2800" dirty="0"/>
              <a:t>Depuis 2023, la Banque des Territoires renforce son engagement au service de la protection de l’enfance</a:t>
            </a:r>
          </a:p>
        </p:txBody>
      </p:sp>
      <p:sp>
        <p:nvSpPr>
          <p:cNvPr id="5" name="ZoneTexte 17">
            <a:extLst>
              <a:ext uri="{FF2B5EF4-FFF2-40B4-BE49-F238E27FC236}">
                <a16:creationId xmlns:a16="http://schemas.microsoft.com/office/drawing/2014/main" id="{8AEE313D-C884-22C8-DCAA-5000E51BD258}"/>
              </a:ext>
            </a:extLst>
          </p:cNvPr>
          <p:cNvSpPr txBox="1"/>
          <p:nvPr/>
        </p:nvSpPr>
        <p:spPr>
          <a:xfrm>
            <a:off x="2717960" y="2582025"/>
            <a:ext cx="0" cy="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none" lIns="61200" tIns="36576" rIns="0" bIns="0" rtlCol="0">
            <a:noAutofit/>
          </a:bodyPr>
          <a:lstStyle/>
          <a:p>
            <a:pPr marL="219075" marR="0" lvl="0" indent="-219075" algn="ctr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80000"/>
              <a:buFont typeface="Arial" pitchFamily="34" charset="0"/>
              <a:buChar char="►"/>
              <a:tabLst/>
              <a:defRPr/>
            </a:pPr>
            <a:endParaRPr kumimoji="0" lang="fr-FR" sz="1200" b="0" i="0" u="none" strike="noStrike" kern="0" cap="none" spc="0" normalizeH="0" baseline="0" noProof="0" err="1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Ellipse 18">
            <a:extLst>
              <a:ext uri="{FF2B5EF4-FFF2-40B4-BE49-F238E27FC236}">
                <a16:creationId xmlns:a16="http://schemas.microsoft.com/office/drawing/2014/main" id="{F19AEAA2-1B2C-6B93-EA05-E911EE8EA066}"/>
              </a:ext>
            </a:extLst>
          </p:cNvPr>
          <p:cNvSpPr/>
          <p:nvPr/>
        </p:nvSpPr>
        <p:spPr>
          <a:xfrm>
            <a:off x="509481" y="3049026"/>
            <a:ext cx="892134" cy="785651"/>
          </a:xfrm>
          <a:prstGeom prst="ellipse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Ellipse 19">
            <a:extLst>
              <a:ext uri="{FF2B5EF4-FFF2-40B4-BE49-F238E27FC236}">
                <a16:creationId xmlns:a16="http://schemas.microsoft.com/office/drawing/2014/main" id="{6DAE3DEF-F148-6FE9-3AC5-44C12CBC64DC}"/>
              </a:ext>
            </a:extLst>
          </p:cNvPr>
          <p:cNvSpPr/>
          <p:nvPr/>
        </p:nvSpPr>
        <p:spPr>
          <a:xfrm>
            <a:off x="631821" y="3136844"/>
            <a:ext cx="820320" cy="721130"/>
          </a:xfrm>
          <a:prstGeom prst="ellipse">
            <a:avLst/>
          </a:prstGeom>
          <a:solidFill>
            <a:schemeClr val="accent3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ZoneTexte 20">
            <a:extLst>
              <a:ext uri="{FF2B5EF4-FFF2-40B4-BE49-F238E27FC236}">
                <a16:creationId xmlns:a16="http://schemas.microsoft.com/office/drawing/2014/main" id="{EA33CE97-FF43-99F3-3F1D-A12321643336}"/>
              </a:ext>
            </a:extLst>
          </p:cNvPr>
          <p:cNvSpPr txBox="1"/>
          <p:nvPr/>
        </p:nvSpPr>
        <p:spPr>
          <a:xfrm>
            <a:off x="1482877" y="1949667"/>
            <a:ext cx="3857128" cy="565072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e étude sur les besoins de la protection de l’enfance 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à partir d’un échantillon de 13 Conseils départementaux et 15 opérateurs associatifs =&gt; évaluation des besoins en création de places et rénovation du secteur</a:t>
            </a:r>
          </a:p>
        </p:txBody>
      </p:sp>
      <p:sp>
        <p:nvSpPr>
          <p:cNvPr id="9" name="ZoneTexte 21">
            <a:extLst>
              <a:ext uri="{FF2B5EF4-FFF2-40B4-BE49-F238E27FC236}">
                <a16:creationId xmlns:a16="http://schemas.microsoft.com/office/drawing/2014/main" id="{36BD5B9F-7905-8A69-66E4-3686BD6A92D6}"/>
              </a:ext>
            </a:extLst>
          </p:cNvPr>
          <p:cNvSpPr txBox="1"/>
          <p:nvPr/>
        </p:nvSpPr>
        <p:spPr>
          <a:xfrm>
            <a:off x="1507788" y="3116634"/>
            <a:ext cx="3857128" cy="565072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 échanges avec les acteurs du secteur sur les différents axes d’intervention et d’action de la Banque des Territoires 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Départements, ADF, Secrétaire d’Etat chargé de l’enfance, secteur associatif…)</a:t>
            </a: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206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fr-FR" sz="1100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obilier</a:t>
            </a: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206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mation professionnelle</a:t>
            </a: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206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fr-FR" sz="1100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érique</a:t>
            </a:r>
          </a:p>
          <a:p>
            <a:pPr marL="171450" marR="0" lvl="0" indent="-17145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206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nomie</a:t>
            </a:r>
          </a:p>
        </p:txBody>
      </p:sp>
      <p:sp>
        <p:nvSpPr>
          <p:cNvPr id="10" name="Ellipse 27">
            <a:extLst>
              <a:ext uri="{FF2B5EF4-FFF2-40B4-BE49-F238E27FC236}">
                <a16:creationId xmlns:a16="http://schemas.microsoft.com/office/drawing/2014/main" id="{85F140CB-2D3E-29D6-2BE9-E339B9B9C8CF}"/>
              </a:ext>
            </a:extLst>
          </p:cNvPr>
          <p:cNvSpPr/>
          <p:nvPr/>
        </p:nvSpPr>
        <p:spPr>
          <a:xfrm>
            <a:off x="486554" y="1826618"/>
            <a:ext cx="892134" cy="785651"/>
          </a:xfrm>
          <a:prstGeom prst="ellipse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Ellipse 28">
            <a:extLst>
              <a:ext uri="{FF2B5EF4-FFF2-40B4-BE49-F238E27FC236}">
                <a16:creationId xmlns:a16="http://schemas.microsoft.com/office/drawing/2014/main" id="{E8021864-1C9B-3188-7366-B906B1A8904E}"/>
              </a:ext>
            </a:extLst>
          </p:cNvPr>
          <p:cNvSpPr/>
          <p:nvPr/>
        </p:nvSpPr>
        <p:spPr>
          <a:xfrm>
            <a:off x="631821" y="1921344"/>
            <a:ext cx="820320" cy="721130"/>
          </a:xfrm>
          <a:prstGeom prst="ellipse">
            <a:avLst/>
          </a:prstGeom>
          <a:solidFill>
            <a:schemeClr val="accent3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Arrow: Left-Right 99">
            <a:extLst>
              <a:ext uri="{FF2B5EF4-FFF2-40B4-BE49-F238E27FC236}">
                <a16:creationId xmlns:a16="http://schemas.microsoft.com/office/drawing/2014/main" id="{90C6BB99-DD96-9327-EE5D-4F890C930838}"/>
              </a:ext>
            </a:extLst>
          </p:cNvPr>
          <p:cNvSpPr/>
          <p:nvPr/>
        </p:nvSpPr>
        <p:spPr>
          <a:xfrm>
            <a:off x="454261" y="1124495"/>
            <a:ext cx="5485750" cy="57284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72000" rtlCol="0" anchor="b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133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e démarche de construction d’une offre initiée via une mission de préfiguration dépendant du cabinet d’Olivier Sichel dès 202</a:t>
            </a:r>
            <a:r>
              <a:rPr lang="fr-FR" sz="1300" b="1" kern="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0" lang="fr-FR" sz="1300" b="1" i="0" u="none" strike="noStrike" kern="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et pour 18 mois via :</a:t>
            </a:r>
          </a:p>
        </p:txBody>
      </p:sp>
      <p:sp>
        <p:nvSpPr>
          <p:cNvPr id="14" name="ZoneTexte 8">
            <a:extLst>
              <a:ext uri="{FF2B5EF4-FFF2-40B4-BE49-F238E27FC236}">
                <a16:creationId xmlns:a16="http://schemas.microsoft.com/office/drawing/2014/main" id="{75B45AAE-31C7-1ED9-2AA1-90B6DBD089AC}"/>
              </a:ext>
            </a:extLst>
          </p:cNvPr>
          <p:cNvSpPr txBox="1"/>
          <p:nvPr/>
        </p:nvSpPr>
        <p:spPr>
          <a:xfrm>
            <a:off x="1490434" y="4901485"/>
            <a:ext cx="3857128" cy="83202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 solutions en cours de co-construction avec le ministère des Solidarités, la CNAF, la DGCS et les Départements pour que plus d’enfants récupèrent leur pécule</a:t>
            </a:r>
          </a:p>
        </p:txBody>
      </p:sp>
      <p:sp>
        <p:nvSpPr>
          <p:cNvPr id="15" name="Ellipse 18">
            <a:extLst>
              <a:ext uri="{FF2B5EF4-FFF2-40B4-BE49-F238E27FC236}">
                <a16:creationId xmlns:a16="http://schemas.microsoft.com/office/drawing/2014/main" id="{69422AEA-E34C-7C6B-CC41-FDA2BA5BAD37}"/>
              </a:ext>
            </a:extLst>
          </p:cNvPr>
          <p:cNvSpPr/>
          <p:nvPr/>
        </p:nvSpPr>
        <p:spPr>
          <a:xfrm>
            <a:off x="454261" y="4854297"/>
            <a:ext cx="892134" cy="785651"/>
          </a:xfrm>
          <a:prstGeom prst="ellipse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Ellipse 19">
            <a:extLst>
              <a:ext uri="{FF2B5EF4-FFF2-40B4-BE49-F238E27FC236}">
                <a16:creationId xmlns:a16="http://schemas.microsoft.com/office/drawing/2014/main" id="{2446F196-285B-DD0F-B953-A6DED62122B6}"/>
              </a:ext>
            </a:extLst>
          </p:cNvPr>
          <p:cNvSpPr/>
          <p:nvPr/>
        </p:nvSpPr>
        <p:spPr>
          <a:xfrm>
            <a:off x="576601" y="4942115"/>
            <a:ext cx="820320" cy="721130"/>
          </a:xfrm>
          <a:prstGeom prst="ellipse">
            <a:avLst/>
          </a:prstGeom>
          <a:solidFill>
            <a:schemeClr val="accent3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Group 215">
            <a:extLst>
              <a:ext uri="{FF2B5EF4-FFF2-40B4-BE49-F238E27FC236}">
                <a16:creationId xmlns:a16="http://schemas.microsoft.com/office/drawing/2014/main" id="{AD0670C2-B2C6-9086-A3A9-239C36E56956}"/>
              </a:ext>
            </a:extLst>
          </p:cNvPr>
          <p:cNvGrpSpPr>
            <a:grpSpLocks noChangeAspect="1"/>
          </p:cNvGrpSpPr>
          <p:nvPr/>
        </p:nvGrpSpPr>
        <p:grpSpPr>
          <a:xfrm>
            <a:off x="6467776" y="1212457"/>
            <a:ext cx="1016054" cy="4755510"/>
            <a:chOff x="6450486" y="1698593"/>
            <a:chExt cx="1153223" cy="5397477"/>
          </a:xfrm>
        </p:grpSpPr>
        <p:sp>
          <p:nvSpPr>
            <p:cNvPr id="18" name="Hexagon 15">
              <a:extLst>
                <a:ext uri="{FF2B5EF4-FFF2-40B4-BE49-F238E27FC236}">
                  <a16:creationId xmlns:a16="http://schemas.microsoft.com/office/drawing/2014/main" id="{7D062957-DA55-02C2-7FFE-472C028083D7}"/>
                </a:ext>
              </a:extLst>
            </p:cNvPr>
            <p:cNvSpPr/>
            <p:nvPr/>
          </p:nvSpPr>
          <p:spPr>
            <a:xfrm rot="5400000">
              <a:off x="6406131" y="3827539"/>
              <a:ext cx="1232477" cy="1131289"/>
            </a:xfrm>
            <a:prstGeom prst="hexagon">
              <a:avLst/>
            </a:pr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0" tIns="0" rIns="0" bIns="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ts val="1336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êter</a:t>
              </a:r>
            </a:p>
          </p:txBody>
        </p:sp>
        <p:sp>
          <p:nvSpPr>
            <p:cNvPr id="19" name="Hexagon 15">
              <a:extLst>
                <a:ext uri="{FF2B5EF4-FFF2-40B4-BE49-F238E27FC236}">
                  <a16:creationId xmlns:a16="http://schemas.microsoft.com/office/drawing/2014/main" id="{44F8938A-D9B7-70FD-2393-83D901907D68}"/>
                </a:ext>
              </a:extLst>
            </p:cNvPr>
            <p:cNvSpPr/>
            <p:nvPr/>
          </p:nvSpPr>
          <p:spPr>
            <a:xfrm rot="5400000">
              <a:off x="6412370" y="4873028"/>
              <a:ext cx="1232477" cy="1131290"/>
            </a:xfrm>
            <a:prstGeom prst="hexagon">
              <a:avLst/>
            </a:pr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0" tIns="0" rIns="0" bIns="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ts val="1336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vestir</a:t>
              </a:r>
            </a:p>
          </p:txBody>
        </p:sp>
        <p:sp>
          <p:nvSpPr>
            <p:cNvPr id="20" name="Hexagon 15">
              <a:extLst>
                <a:ext uri="{FF2B5EF4-FFF2-40B4-BE49-F238E27FC236}">
                  <a16:creationId xmlns:a16="http://schemas.microsoft.com/office/drawing/2014/main" id="{FBEA7A94-0944-9E69-181D-1CDEAD90DD1E}"/>
                </a:ext>
              </a:extLst>
            </p:cNvPr>
            <p:cNvSpPr/>
            <p:nvPr/>
          </p:nvSpPr>
          <p:spPr>
            <a:xfrm rot="5400000">
              <a:off x="6399892" y="1749187"/>
              <a:ext cx="1232477" cy="1131289"/>
            </a:xfrm>
            <a:prstGeom prst="hexagon">
              <a:avLst/>
            </a:pr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0" tIns="0" rIns="0" bIns="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ts val="1336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seiller</a:t>
              </a:r>
            </a:p>
          </p:txBody>
        </p:sp>
        <p:sp>
          <p:nvSpPr>
            <p:cNvPr id="21" name="Hexagon 15">
              <a:extLst>
                <a:ext uri="{FF2B5EF4-FFF2-40B4-BE49-F238E27FC236}">
                  <a16:creationId xmlns:a16="http://schemas.microsoft.com/office/drawing/2014/main" id="{16987AA4-4E47-AF71-8F01-7BF62DF9597E}"/>
                </a:ext>
              </a:extLst>
            </p:cNvPr>
            <p:cNvSpPr/>
            <p:nvPr/>
          </p:nvSpPr>
          <p:spPr>
            <a:xfrm rot="5400000">
              <a:off x="6399892" y="2794683"/>
              <a:ext cx="1232477" cy="1131289"/>
            </a:xfrm>
            <a:prstGeom prst="hexagon">
              <a:avLst/>
            </a:pr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0" tIns="0" rIns="0" bIns="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ts val="1336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érer</a:t>
              </a:r>
            </a:p>
          </p:txBody>
        </p:sp>
        <p:sp>
          <p:nvSpPr>
            <p:cNvPr id="22" name="Hexagon 15">
              <a:extLst>
                <a:ext uri="{FF2B5EF4-FFF2-40B4-BE49-F238E27FC236}">
                  <a16:creationId xmlns:a16="http://schemas.microsoft.com/office/drawing/2014/main" id="{F9D487B1-CC54-46F6-CD37-178C16C41B89}"/>
                </a:ext>
              </a:extLst>
            </p:cNvPr>
            <p:cNvSpPr/>
            <p:nvPr/>
          </p:nvSpPr>
          <p:spPr>
            <a:xfrm rot="5400000">
              <a:off x="6421826" y="5914187"/>
              <a:ext cx="1232477" cy="1131289"/>
            </a:xfrm>
            <a:prstGeom prst="hexagon">
              <a:avLst/>
            </a:prstGeom>
            <a:noFill/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0" tIns="0" rIns="0" bIns="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ts val="1336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0" cap="none" spc="0" normalizeH="0" baseline="0" noProof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écuriser</a:t>
              </a:r>
            </a:p>
          </p:txBody>
        </p:sp>
      </p:grpSp>
      <p:sp>
        <p:nvSpPr>
          <p:cNvPr id="23" name="ZoneTexte 4">
            <a:extLst>
              <a:ext uri="{FF2B5EF4-FFF2-40B4-BE49-F238E27FC236}">
                <a16:creationId xmlns:a16="http://schemas.microsoft.com/office/drawing/2014/main" id="{94FF39D2-EEBA-F416-5915-A15215CA9FE9}"/>
              </a:ext>
            </a:extLst>
          </p:cNvPr>
          <p:cNvSpPr txBox="1"/>
          <p:nvPr/>
        </p:nvSpPr>
        <p:spPr>
          <a:xfrm>
            <a:off x="7565891" y="3230167"/>
            <a:ext cx="4307643" cy="616238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long terme 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25 ans pour la réhabilitation et 40 ans pour la construction</a:t>
            </a:r>
          </a:p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êt PHARE 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au taux révisable (TLA + 0,6%)</a:t>
            </a:r>
          </a:p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-prêt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: au taux révisable </a:t>
            </a:r>
          </a:p>
        </p:txBody>
      </p:sp>
      <p:sp>
        <p:nvSpPr>
          <p:cNvPr id="24" name="ZoneTexte 7">
            <a:extLst>
              <a:ext uri="{FF2B5EF4-FFF2-40B4-BE49-F238E27FC236}">
                <a16:creationId xmlns:a16="http://schemas.microsoft.com/office/drawing/2014/main" id="{0884CB43-4541-DDE5-B067-DA90141D17A6}"/>
              </a:ext>
            </a:extLst>
          </p:cNvPr>
          <p:cNvSpPr txBox="1"/>
          <p:nvPr/>
        </p:nvSpPr>
        <p:spPr>
          <a:xfrm>
            <a:off x="7565891" y="1572925"/>
            <a:ext cx="4307636" cy="443654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-financer des études pour les Conseils départementaux et les associations </a:t>
            </a:r>
            <a:r>
              <a:rPr kumimoji="0" lang="fr-FR" sz="110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schémas directeurs immobiliers, audits énergétiques, étude pour la réalisation d’une foncière médico-sociale en Mayenne, étude de réhabilitations)</a:t>
            </a:r>
          </a:p>
        </p:txBody>
      </p:sp>
      <p:sp>
        <p:nvSpPr>
          <p:cNvPr id="25" name="ZoneTexte 8">
            <a:extLst>
              <a:ext uri="{FF2B5EF4-FFF2-40B4-BE49-F238E27FC236}">
                <a16:creationId xmlns:a16="http://schemas.microsoft.com/office/drawing/2014/main" id="{D8E680BE-CE96-FF9B-0F75-A451DDA8D0B5}"/>
              </a:ext>
            </a:extLst>
          </p:cNvPr>
          <p:cNvSpPr txBox="1"/>
          <p:nvPr/>
        </p:nvSpPr>
        <p:spPr>
          <a:xfrm>
            <a:off x="7565891" y="5020324"/>
            <a:ext cx="4307636" cy="947643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écuriser le pécule des enfants relevant de l’ASE</a:t>
            </a:r>
          </a:p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Tx/>
              <a:buNone/>
              <a:tabLst/>
              <a:defRPr/>
            </a:pPr>
            <a:r>
              <a:rPr kumimoji="0" lang="fr-FR" sz="105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loi du 14 mars 2016 a attribué à la Caisse des dépôts la mission d’assurer la réception et la protection des allocations de rentrées scolaires des enfants confiés aux services d’aide sociale à l’enfance et de les conserver jusqu’à leur majorité.</a:t>
            </a:r>
          </a:p>
        </p:txBody>
      </p:sp>
      <p:sp>
        <p:nvSpPr>
          <p:cNvPr id="27" name="ZoneTexte 10">
            <a:extLst>
              <a:ext uri="{FF2B5EF4-FFF2-40B4-BE49-F238E27FC236}">
                <a16:creationId xmlns:a16="http://schemas.microsoft.com/office/drawing/2014/main" id="{1CE5CAE2-7C11-1FF5-3B39-46D00AA6540C}"/>
              </a:ext>
            </a:extLst>
          </p:cNvPr>
          <p:cNvSpPr txBox="1"/>
          <p:nvPr/>
        </p:nvSpPr>
        <p:spPr>
          <a:xfrm>
            <a:off x="7565887" y="4152109"/>
            <a:ext cx="4307640" cy="315209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estir pour l’accueil des personnes fragiles </a:t>
            </a:r>
            <a:r>
              <a:rPr kumimoji="0" lang="fr-FR" sz="110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étude sur la mise en œuvre d’une foncière médico-sociale en Mayenne)</a:t>
            </a:r>
          </a:p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lang="fr-FR" sz="1100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ssements dans des </a:t>
            </a:r>
            <a:r>
              <a:rPr lang="fr-FR" sz="1100" b="1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érateurs de la formation professionnelle</a:t>
            </a:r>
            <a:endParaRPr kumimoji="0" lang="fr-FR" sz="11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ZoneTexte 11">
            <a:extLst>
              <a:ext uri="{FF2B5EF4-FFF2-40B4-BE49-F238E27FC236}">
                <a16:creationId xmlns:a16="http://schemas.microsoft.com/office/drawing/2014/main" id="{3BF25390-2CCF-914D-9B39-1B145036AEE5}"/>
              </a:ext>
            </a:extLst>
          </p:cNvPr>
          <p:cNvSpPr txBox="1"/>
          <p:nvPr/>
        </p:nvSpPr>
        <p:spPr>
          <a:xfrm>
            <a:off x="7565891" y="2306294"/>
            <a:ext cx="4307638" cy="810340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éberger des jeunes majeurs accompagnés dans le parc social </a:t>
            </a: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avec CDC Habitat / Adoma)</a:t>
            </a:r>
          </a:p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it temporaire urbain (TTU)</a:t>
            </a:r>
          </a:p>
          <a:p>
            <a:pPr marL="126000" marR="0" lvl="0" indent="-126000" algn="l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veloppement de solutions numériques avec la Manufacture</a:t>
            </a:r>
          </a:p>
        </p:txBody>
      </p:sp>
      <p:sp>
        <p:nvSpPr>
          <p:cNvPr id="29" name="Arrow: Left-Right 213">
            <a:extLst>
              <a:ext uri="{FF2B5EF4-FFF2-40B4-BE49-F238E27FC236}">
                <a16:creationId xmlns:a16="http://schemas.microsoft.com/office/drawing/2014/main" id="{B0229440-B780-2A39-7F03-E3EEE17B2E20}"/>
              </a:ext>
            </a:extLst>
          </p:cNvPr>
          <p:cNvSpPr/>
          <p:nvPr/>
        </p:nvSpPr>
        <p:spPr>
          <a:xfrm>
            <a:off x="6187034" y="1186333"/>
            <a:ext cx="5485750" cy="23941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72000" rtlCol="0" anchor="b" anchorCtr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1336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axes d’intervention </a:t>
            </a:r>
            <a:r>
              <a:rPr lang="fr-FR" sz="1200" b="1" kern="0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uis 2023</a:t>
            </a: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0" name="Connecteur droit 13">
            <a:extLst>
              <a:ext uri="{FF2B5EF4-FFF2-40B4-BE49-F238E27FC236}">
                <a16:creationId xmlns:a16="http://schemas.microsoft.com/office/drawing/2014/main" id="{D2EF8C9C-91A3-7437-BB3A-7101C1D174D2}"/>
              </a:ext>
            </a:extLst>
          </p:cNvPr>
          <p:cNvCxnSpPr/>
          <p:nvPr/>
        </p:nvCxnSpPr>
        <p:spPr>
          <a:xfrm>
            <a:off x="5921842" y="1176374"/>
            <a:ext cx="0" cy="4932000"/>
          </a:xfrm>
          <a:prstGeom prst="line">
            <a:avLst/>
          </a:prstGeom>
          <a:noFill/>
          <a:ln w="12700" cap="sq" cmpd="sng" algn="ctr">
            <a:solidFill>
              <a:srgbClr val="D2D2DA"/>
            </a:solidFill>
            <a:prstDash val="solid"/>
            <a:miter lim="800000"/>
            <a:tailEnd type="none"/>
          </a:ln>
          <a:effectLst/>
        </p:spPr>
      </p:cxnSp>
      <p:pic>
        <p:nvPicPr>
          <p:cNvPr id="37" name="Picture 423">
            <a:extLst>
              <a:ext uri="{FF2B5EF4-FFF2-40B4-BE49-F238E27FC236}">
                <a16:creationId xmlns:a16="http://schemas.microsoft.com/office/drawing/2014/main" id="{27A45455-D9EE-7EF2-5A30-BB52183582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5178" y="1166185"/>
            <a:ext cx="972036" cy="197978"/>
          </a:xfrm>
          <a:prstGeom prst="rect">
            <a:avLst/>
          </a:prstGeom>
        </p:spPr>
      </p:pic>
      <p:sp>
        <p:nvSpPr>
          <p:cNvPr id="39" name="ZoneTexte 38">
            <a:extLst>
              <a:ext uri="{FF2B5EF4-FFF2-40B4-BE49-F238E27FC236}">
                <a16:creationId xmlns:a16="http://schemas.microsoft.com/office/drawing/2014/main" id="{C1192855-8022-9D26-87C8-ACC2A77EFFD5}"/>
              </a:ext>
            </a:extLst>
          </p:cNvPr>
          <p:cNvSpPr txBox="1"/>
          <p:nvPr/>
        </p:nvSpPr>
        <p:spPr>
          <a:xfrm>
            <a:off x="1035131" y="5958713"/>
            <a:ext cx="7547399" cy="221587"/>
          </a:xfrm>
          <a:prstGeom prst="rect">
            <a:avLst/>
          </a:prstGeom>
          <a:noFill/>
          <a:ln w="12700" cap="sq">
            <a:noFill/>
            <a:miter lim="800000"/>
          </a:ln>
        </p:spPr>
        <p:txBody>
          <a:bodyPr wrap="square" lIns="61200" tIns="36576" rIns="0" bIns="0" rtlCol="0">
            <a:noAutofit/>
          </a:bodyPr>
          <a:lstStyle/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C20E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rPr>
              <a:t> Création en janvier 2025 d’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C20E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 programme ASE dédié à l’élargissement de </a:t>
            </a:r>
            <a:r>
              <a:rPr lang="fr-FR" sz="1400" b="1" kern="0" dirty="0">
                <a:solidFill>
                  <a:srgbClr val="C20E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offre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C20E1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6854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E2E38">
                  <a:lumMod val="60000"/>
                  <a:lumOff val="40000"/>
                </a:srgbClr>
              </a:buClr>
              <a:buSzPct val="75000"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C20E1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12CC83A-0E08-20F5-D721-CBA6DC877DBF}"/>
              </a:ext>
            </a:extLst>
          </p:cNvPr>
          <p:cNvSpPr/>
          <p:nvPr/>
        </p:nvSpPr>
        <p:spPr bwMode="auto">
          <a:xfrm>
            <a:off x="822960" y="6410960"/>
            <a:ext cx="3241040" cy="248608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1075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isse des Dépôts">
  <a:themeElements>
    <a:clrScheme name="Caisse des Dépôts">
      <a:dk1>
        <a:srgbClr val="F01E1E"/>
      </a:dk1>
      <a:lt1>
        <a:srgbClr val="FFFFFF"/>
      </a:lt1>
      <a:dk2>
        <a:srgbClr val="000000"/>
      </a:dk2>
      <a:lt2>
        <a:srgbClr val="FFFFFF"/>
      </a:lt2>
      <a:accent1>
        <a:srgbClr val="82D2FA"/>
      </a:accent1>
      <a:accent2>
        <a:srgbClr val="73C8AA"/>
      </a:accent2>
      <a:accent3>
        <a:srgbClr val="00AFAA"/>
      </a:accent3>
      <a:accent4>
        <a:srgbClr val="00AAFA"/>
      </a:accent4>
      <a:accent5>
        <a:srgbClr val="E60087"/>
      </a:accent5>
      <a:accent6>
        <a:srgbClr val="E6505A"/>
      </a:accent6>
      <a:hlink>
        <a:srgbClr val="8C2896"/>
      </a:hlink>
      <a:folHlink>
        <a:srgbClr val="1E46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noFill/>
        <a:ln>
          <a:solidFill>
            <a:schemeClr val="tx1"/>
          </a:solidFill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algn="l">
          <a:defRPr/>
        </a:defPPr>
      </a:lstStyle>
    </a:spDef>
  </a:objectDefaults>
  <a:extraClrSchemeLst/>
  <a:extLst>
    <a:ext uri="{05A4C25C-085E-4340-85A3-A5531E510DB2}">
      <thm15:themeFamily xmlns:thm15="http://schemas.microsoft.com/office/thememl/2012/main" name="modele allégés.potx" id="{D93E331C-177C-462C-B558-DBBD428DB13E}" vid="{02B27C46-C245-4FE3-B3B3-0AAEA2F07E9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336</Words>
  <Application>Microsoft Office PowerPoint</Application>
  <PresentationFormat>Grand écran</PresentationFormat>
  <Paragraphs>28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 3</vt:lpstr>
      <vt:lpstr>Caisse des Dépôts</vt:lpstr>
      <vt:lpstr>think-cell Slide</vt:lpstr>
      <vt:lpstr>Depuis 2023, la Banque des Territoires renforce son engagement au service de la protection de l’enfa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uis deux ans la Banque des Territoires renforce son engagement au service de la protection de l’enfance</dc:title>
  <dc:creator>Bendouba, Inès</dc:creator>
  <cp:lastModifiedBy>Bendouba, Inès</cp:lastModifiedBy>
  <cp:revision>2</cp:revision>
  <dcterms:created xsi:type="dcterms:W3CDTF">2025-01-28T10:59:04Z</dcterms:created>
  <dcterms:modified xsi:type="dcterms:W3CDTF">2025-04-15T09:2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e1e3e5-28aa-42d2-a9d5-f117a2286530_Enabled">
    <vt:lpwstr>true</vt:lpwstr>
  </property>
  <property fmtid="{D5CDD505-2E9C-101B-9397-08002B2CF9AE}" pid="3" name="MSIP_Label_94e1e3e5-28aa-42d2-a9d5-f117a2286530_SetDate">
    <vt:lpwstr>2025-01-28T11:02:41Z</vt:lpwstr>
  </property>
  <property fmtid="{D5CDD505-2E9C-101B-9397-08002B2CF9AE}" pid="4" name="MSIP_Label_94e1e3e5-28aa-42d2-a9d5-f117a2286530_Method">
    <vt:lpwstr>Standard</vt:lpwstr>
  </property>
  <property fmtid="{D5CDD505-2E9C-101B-9397-08002B2CF9AE}" pid="5" name="MSIP_Label_94e1e3e5-28aa-42d2-a9d5-f117a2286530_Name">
    <vt:lpwstr>C2-Interne avec marquage</vt:lpwstr>
  </property>
  <property fmtid="{D5CDD505-2E9C-101B-9397-08002B2CF9AE}" pid="6" name="MSIP_Label_94e1e3e5-28aa-42d2-a9d5-f117a2286530_SiteId">
    <vt:lpwstr>6eab6365-8194-49c6-a4d0-e2d1a0fbeb74</vt:lpwstr>
  </property>
  <property fmtid="{D5CDD505-2E9C-101B-9397-08002B2CF9AE}" pid="7" name="MSIP_Label_94e1e3e5-28aa-42d2-a9d5-f117a2286530_ActionId">
    <vt:lpwstr>27fedfba-6227-4520-ac79-c15696d9d19a</vt:lpwstr>
  </property>
  <property fmtid="{D5CDD505-2E9C-101B-9397-08002B2CF9AE}" pid="8" name="MSIP_Label_94e1e3e5-28aa-42d2-a9d5-f117a2286530_ContentBits">
    <vt:lpwstr>2</vt:lpwstr>
  </property>
  <property fmtid="{D5CDD505-2E9C-101B-9397-08002B2CF9AE}" pid="9" name="ClassificationContentMarkingFooterLocations">
    <vt:lpwstr>Caisse des Dépôts:7</vt:lpwstr>
  </property>
  <property fmtid="{D5CDD505-2E9C-101B-9397-08002B2CF9AE}" pid="10" name="ClassificationContentMarkingFooterText">
    <vt:lpwstr>Interne</vt:lpwstr>
  </property>
</Properties>
</file>